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3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4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sldIdLst>
    <p:sldId id="326" r:id="rId5"/>
    <p:sldId id="2147483535" r:id="rId6"/>
    <p:sldId id="2147483531" r:id="rId7"/>
    <p:sldId id="2147483539" r:id="rId8"/>
    <p:sldId id="2147483536" r:id="rId9"/>
    <p:sldId id="2147483537" r:id="rId10"/>
    <p:sldId id="2147483540" r:id="rId11"/>
    <p:sldId id="2147483541" r:id="rId12"/>
  </p:sldIdLst>
  <p:sldSz cx="12192000" cy="6858000"/>
  <p:notesSz cx="6797675" cy="9926638"/>
  <p:custDataLst>
    <p:tags r:id="rId14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AAC2C43-FD8A-4E33-BA16-4006F2DF0BD8}" v="44" dt="2025-05-29T11:20:32.001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21" d="100"/>
          <a:sy n="121" d="100"/>
        </p:scale>
        <p:origin x="15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maria, Shridhar" userId="8333b265-e735-45f8-a921-ce459cc3483a" providerId="ADAL" clId="{7DA14F94-C5E8-4A7E-BB34-7AD08F6733B9}"/>
    <pc:docChg chg="undo custSel modSld">
      <pc:chgData name="Chamaria, Shridhar" userId="8333b265-e735-45f8-a921-ce459cc3483a" providerId="ADAL" clId="{7DA14F94-C5E8-4A7E-BB34-7AD08F6733B9}" dt="2025-05-28T07:45:53.510" v="962" actId="20577"/>
      <pc:docMkLst>
        <pc:docMk/>
      </pc:docMkLst>
      <pc:sldChg chg="addSp delSp modSp mod">
        <pc:chgData name="Chamaria, Shridhar" userId="8333b265-e735-45f8-a921-ce459cc3483a" providerId="ADAL" clId="{7DA14F94-C5E8-4A7E-BB34-7AD08F6733B9}" dt="2025-05-28T07:34:56.015" v="799"/>
        <pc:sldMkLst>
          <pc:docMk/>
          <pc:sldMk cId="188712189" sldId="2147483531"/>
        </pc:sldMkLst>
        <pc:spChg chg="mod">
          <ac:chgData name="Chamaria, Shridhar" userId="8333b265-e735-45f8-a921-ce459cc3483a" providerId="ADAL" clId="{7DA14F94-C5E8-4A7E-BB34-7AD08F6733B9}" dt="2025-05-28T07:34:27.870" v="794"/>
          <ac:spMkLst>
            <pc:docMk/>
            <pc:sldMk cId="188712189" sldId="2147483531"/>
            <ac:spMk id="2" creationId="{3DDB9358-62F7-B7D9-BDC2-E16E86B30A0F}"/>
          </ac:spMkLst>
        </pc:spChg>
        <pc:spChg chg="mod">
          <ac:chgData name="Chamaria, Shridhar" userId="8333b265-e735-45f8-a921-ce459cc3483a" providerId="ADAL" clId="{7DA14F94-C5E8-4A7E-BB34-7AD08F6733B9}" dt="2025-05-28T07:31:33.370" v="709" actId="948"/>
          <ac:spMkLst>
            <pc:docMk/>
            <pc:sldMk cId="188712189" sldId="2147483531"/>
            <ac:spMk id="3" creationId="{6B3CA210-6BC3-4334-BB0B-46C8A3913293}"/>
          </ac:spMkLst>
        </pc:spChg>
        <pc:spChg chg="mod">
          <ac:chgData name="Chamaria, Shridhar" userId="8333b265-e735-45f8-a921-ce459cc3483a" providerId="ADAL" clId="{7DA14F94-C5E8-4A7E-BB34-7AD08F6733B9}" dt="2025-05-28T07:34:56.015" v="799"/>
          <ac:spMkLst>
            <pc:docMk/>
            <pc:sldMk cId="188712189" sldId="2147483531"/>
            <ac:spMk id="4" creationId="{99FE2765-97D8-2EF7-89D9-6A4D4004E470}"/>
          </ac:spMkLst>
        </pc:spChg>
        <pc:spChg chg="add del mod modVis">
          <ac:chgData name="Chamaria, Shridhar" userId="8333b265-e735-45f8-a921-ce459cc3483a" providerId="ADAL" clId="{7DA14F94-C5E8-4A7E-BB34-7AD08F6733B9}" dt="2025-05-28T07:31:33.383" v="736"/>
          <ac:spMkLst>
            <pc:docMk/>
            <pc:sldMk cId="188712189" sldId="2147483531"/>
            <ac:spMk id="5" creationId="{56F24AA0-F603-E0CE-CAFE-9A9ACEB1F1E3}"/>
          </ac:spMkLst>
        </pc:spChg>
        <pc:spChg chg="add mod">
          <ac:chgData name="Chamaria, Shridhar" userId="8333b265-e735-45f8-a921-ce459cc3483a" providerId="ADAL" clId="{7DA14F94-C5E8-4A7E-BB34-7AD08F6733B9}" dt="2025-05-28T07:33:34.399" v="788"/>
          <ac:spMkLst>
            <pc:docMk/>
            <pc:sldMk cId="188712189" sldId="2147483531"/>
            <ac:spMk id="7" creationId="{846A3D2F-81BE-4858-8C43-835F8BAE799F}"/>
          </ac:spMkLst>
        </pc:spChg>
        <pc:spChg chg="mod">
          <ac:chgData name="Chamaria, Shridhar" userId="8333b265-e735-45f8-a921-ce459cc3483a" providerId="ADAL" clId="{7DA14F94-C5E8-4A7E-BB34-7AD08F6733B9}" dt="2025-05-28T07:31:45.410" v="768" actId="20577"/>
          <ac:spMkLst>
            <pc:docMk/>
            <pc:sldMk cId="188712189" sldId="2147483531"/>
            <ac:spMk id="14" creationId="{763B2FC3-DE61-CD57-B7F2-9D01BEEB064B}"/>
          </ac:spMkLst>
        </pc:spChg>
        <pc:spChg chg="del mod">
          <ac:chgData name="Chamaria, Shridhar" userId="8333b265-e735-45f8-a921-ce459cc3483a" providerId="ADAL" clId="{7DA14F94-C5E8-4A7E-BB34-7AD08F6733B9}" dt="2025-05-28T07:33:34.114" v="787" actId="478"/>
          <ac:spMkLst>
            <pc:docMk/>
            <pc:sldMk cId="188712189" sldId="2147483531"/>
            <ac:spMk id="18" creationId="{932F1F73-AB75-44F7-911F-9298425C988F}"/>
          </ac:spMkLst>
        </pc:spChg>
        <pc:graphicFrameChg chg="add mod ord modVis">
          <ac:chgData name="Chamaria, Shridhar" userId="8333b265-e735-45f8-a921-ce459cc3483a" providerId="ADAL" clId="{7DA14F94-C5E8-4A7E-BB34-7AD08F6733B9}" dt="2025-05-28T07:31:33.432" v="750"/>
          <ac:graphicFrameMkLst>
            <pc:docMk/>
            <pc:sldMk cId="188712189" sldId="2147483531"/>
            <ac:graphicFrameMk id="6" creationId="{F74D4E0F-BE83-0484-92FC-CE46DCE32D93}"/>
          </ac:graphicFrameMkLst>
        </pc:graphicFrameChg>
      </pc:sldChg>
      <pc:sldChg chg="addSp delSp modSp mod">
        <pc:chgData name="Chamaria, Shridhar" userId="8333b265-e735-45f8-a921-ce459cc3483a" providerId="ADAL" clId="{7DA14F94-C5E8-4A7E-BB34-7AD08F6733B9}" dt="2025-05-28T07:45:53.510" v="962" actId="20577"/>
        <pc:sldMkLst>
          <pc:docMk/>
          <pc:sldMk cId="4119427593" sldId="2147483535"/>
        </pc:sldMkLst>
        <pc:spChg chg="add del mod modVis">
          <ac:chgData name="Chamaria, Shridhar" userId="8333b265-e735-45f8-a921-ce459cc3483a" providerId="ADAL" clId="{7DA14F94-C5E8-4A7E-BB34-7AD08F6733B9}" dt="2025-05-28T07:42:32.484" v="833"/>
          <ac:spMkLst>
            <pc:docMk/>
            <pc:sldMk cId="4119427593" sldId="2147483535"/>
            <ac:spMk id="7" creationId="{FDF5685C-B409-7E3F-7F84-03E06781BF1E}"/>
          </ac:spMkLst>
        </pc:spChg>
        <pc:spChg chg="add del mod">
          <ac:chgData name="Chamaria, Shridhar" userId="8333b265-e735-45f8-a921-ce459cc3483a" providerId="ADAL" clId="{7DA14F94-C5E8-4A7E-BB34-7AD08F6733B9}" dt="2025-05-28T07:44:19.503" v="877" actId="478"/>
          <ac:spMkLst>
            <pc:docMk/>
            <pc:sldMk cId="4119427593" sldId="2147483535"/>
            <ac:spMk id="14" creationId="{72D81483-A113-8845-9E13-47897CE3FD65}"/>
          </ac:spMkLst>
        </pc:spChg>
        <pc:spChg chg="add del mod">
          <ac:chgData name="Chamaria, Shridhar" userId="8333b265-e735-45f8-a921-ce459cc3483a" providerId="ADAL" clId="{7DA14F94-C5E8-4A7E-BB34-7AD08F6733B9}" dt="2025-05-28T07:44:30.117" v="884" actId="478"/>
          <ac:spMkLst>
            <pc:docMk/>
            <pc:sldMk cId="4119427593" sldId="2147483535"/>
            <ac:spMk id="15" creationId="{B8236B8A-3F5F-5709-2561-1C099A1C79A0}"/>
          </ac:spMkLst>
        </pc:spChg>
        <pc:spChg chg="mod">
          <ac:chgData name="Chamaria, Shridhar" userId="8333b265-e735-45f8-a921-ce459cc3483a" providerId="ADAL" clId="{7DA14F94-C5E8-4A7E-BB34-7AD08F6733B9}" dt="2025-05-28T07:42:32.450" v="806" actId="948"/>
          <ac:spMkLst>
            <pc:docMk/>
            <pc:sldMk cId="4119427593" sldId="2147483535"/>
            <ac:spMk id="16" creationId="{00000000-0000-0000-0000-000000000000}"/>
          </ac:spMkLst>
        </pc:spChg>
        <pc:spChg chg="add del mod">
          <ac:chgData name="Chamaria, Shridhar" userId="8333b265-e735-45f8-a921-ce459cc3483a" providerId="ADAL" clId="{7DA14F94-C5E8-4A7E-BB34-7AD08F6733B9}" dt="2025-05-28T07:44:31.804" v="885" actId="478"/>
          <ac:spMkLst>
            <pc:docMk/>
            <pc:sldMk cId="4119427593" sldId="2147483535"/>
            <ac:spMk id="18" creationId="{84992F7A-6D66-EF4A-34B8-CF87896D4C38}"/>
          </ac:spMkLst>
        </pc:spChg>
        <pc:spChg chg="add del mod">
          <ac:chgData name="Chamaria, Shridhar" userId="8333b265-e735-45f8-a921-ce459cc3483a" providerId="ADAL" clId="{7DA14F94-C5E8-4A7E-BB34-7AD08F6733B9}" dt="2025-05-28T07:44:33.007" v="886" actId="478"/>
          <ac:spMkLst>
            <pc:docMk/>
            <pc:sldMk cId="4119427593" sldId="2147483535"/>
            <ac:spMk id="19" creationId="{789532C0-DF17-9BD0-8C8A-E5F2482FCC62}"/>
          </ac:spMkLst>
        </pc:spChg>
        <pc:spChg chg="add del mod">
          <ac:chgData name="Chamaria, Shridhar" userId="8333b265-e735-45f8-a921-ce459cc3483a" providerId="ADAL" clId="{7DA14F94-C5E8-4A7E-BB34-7AD08F6733B9}" dt="2025-05-28T07:44:34.294" v="887" actId="478"/>
          <ac:spMkLst>
            <pc:docMk/>
            <pc:sldMk cId="4119427593" sldId="2147483535"/>
            <ac:spMk id="41" creationId="{76290034-DACE-94D3-D8FE-AA43FD82505F}"/>
          </ac:spMkLst>
        </pc:spChg>
        <pc:spChg chg="add del mod">
          <ac:chgData name="Chamaria, Shridhar" userId="8333b265-e735-45f8-a921-ce459cc3483a" providerId="ADAL" clId="{7DA14F94-C5E8-4A7E-BB34-7AD08F6733B9}" dt="2025-05-28T07:44:35.682" v="888" actId="478"/>
          <ac:spMkLst>
            <pc:docMk/>
            <pc:sldMk cId="4119427593" sldId="2147483535"/>
            <ac:spMk id="44" creationId="{C7E7BE79-FFB0-D182-F4DC-AD4E45A9265F}"/>
          </ac:spMkLst>
        </pc:spChg>
        <pc:spChg chg="add del mod">
          <ac:chgData name="Chamaria, Shridhar" userId="8333b265-e735-45f8-a921-ce459cc3483a" providerId="ADAL" clId="{7DA14F94-C5E8-4A7E-BB34-7AD08F6733B9}" dt="2025-05-28T07:44:39.363" v="891" actId="478"/>
          <ac:spMkLst>
            <pc:docMk/>
            <pc:sldMk cId="4119427593" sldId="2147483535"/>
            <ac:spMk id="52" creationId="{5AE28192-1922-731E-DD9C-FDAD51A5B73A}"/>
          </ac:spMkLst>
        </pc:spChg>
        <pc:spChg chg="add del mod">
          <ac:chgData name="Chamaria, Shridhar" userId="8333b265-e735-45f8-a921-ce459cc3483a" providerId="ADAL" clId="{7DA14F94-C5E8-4A7E-BB34-7AD08F6733B9}" dt="2025-05-28T07:44:38.430" v="890" actId="478"/>
          <ac:spMkLst>
            <pc:docMk/>
            <pc:sldMk cId="4119427593" sldId="2147483535"/>
            <ac:spMk id="53" creationId="{4F334A82-AA53-3B37-7D41-C010A3CA835E}"/>
          </ac:spMkLst>
        </pc:spChg>
        <pc:spChg chg="add del mod">
          <ac:chgData name="Chamaria, Shridhar" userId="8333b265-e735-45f8-a921-ce459cc3483a" providerId="ADAL" clId="{7DA14F94-C5E8-4A7E-BB34-7AD08F6733B9}" dt="2025-05-28T07:44:37.227" v="889" actId="478"/>
          <ac:spMkLst>
            <pc:docMk/>
            <pc:sldMk cId="4119427593" sldId="2147483535"/>
            <ac:spMk id="54" creationId="{203FF706-6B74-69EF-C68A-9939C1E440F5}"/>
          </ac:spMkLst>
        </pc:spChg>
        <pc:graphicFrameChg chg="mod">
          <ac:chgData name="Chamaria, Shridhar" userId="8333b265-e735-45f8-a921-ce459cc3483a" providerId="ADAL" clId="{7DA14F94-C5E8-4A7E-BB34-7AD08F6733B9}" dt="2025-05-28T07:42:32.484" v="835"/>
          <ac:graphicFrameMkLst>
            <pc:docMk/>
            <pc:sldMk cId="4119427593" sldId="2147483535"/>
            <ac:graphicFrameMk id="6" creationId="{7BA80DD0-1A0E-490A-8692-012F5A8E633B}"/>
          </ac:graphicFrameMkLst>
        </pc:graphicFrameChg>
        <pc:graphicFrameChg chg="modGraphic">
          <ac:chgData name="Chamaria, Shridhar" userId="8333b265-e735-45f8-a921-ce459cc3483a" providerId="ADAL" clId="{7DA14F94-C5E8-4A7E-BB34-7AD08F6733B9}" dt="2025-05-28T07:45:53.510" v="962" actId="20577"/>
          <ac:graphicFrameMkLst>
            <pc:docMk/>
            <pc:sldMk cId="4119427593" sldId="2147483535"/>
            <ac:graphicFrameMk id="84" creationId="{8E3910C7-A074-F036-9FFE-649A59CF57DB}"/>
          </ac:graphicFrameMkLst>
        </pc:graphicFrameChg>
      </pc:sldChg>
      <pc:sldChg chg="modSp mod">
        <pc:chgData name="Chamaria, Shridhar" userId="8333b265-e735-45f8-a921-ce459cc3483a" providerId="ADAL" clId="{7DA14F94-C5E8-4A7E-BB34-7AD08F6733B9}" dt="2025-05-28T07:26:38.597" v="579" actId="20577"/>
        <pc:sldMkLst>
          <pc:docMk/>
          <pc:sldMk cId="2497422532" sldId="2147483536"/>
        </pc:sldMkLst>
        <pc:graphicFrameChg chg="modGraphic">
          <ac:chgData name="Chamaria, Shridhar" userId="8333b265-e735-45f8-a921-ce459cc3483a" providerId="ADAL" clId="{7DA14F94-C5E8-4A7E-BB34-7AD08F6733B9}" dt="2025-05-28T07:26:38.597" v="579" actId="20577"/>
          <ac:graphicFrameMkLst>
            <pc:docMk/>
            <pc:sldMk cId="2497422532" sldId="2147483536"/>
            <ac:graphicFrameMk id="3" creationId="{CB1F7A2E-8AEC-46DF-AC9C-C19C73CF1461}"/>
          </ac:graphicFrameMkLst>
        </pc:graphicFrameChg>
      </pc:sldChg>
      <pc:sldChg chg="modSp mod">
        <pc:chgData name="Chamaria, Shridhar" userId="8333b265-e735-45f8-a921-ce459cc3483a" providerId="ADAL" clId="{7DA14F94-C5E8-4A7E-BB34-7AD08F6733B9}" dt="2025-05-28T07:19:20.832" v="513" actId="20577"/>
        <pc:sldMkLst>
          <pc:docMk/>
          <pc:sldMk cId="3403655098" sldId="2147483537"/>
        </pc:sldMkLst>
        <pc:graphicFrameChg chg="modGraphic">
          <ac:chgData name="Chamaria, Shridhar" userId="8333b265-e735-45f8-a921-ce459cc3483a" providerId="ADAL" clId="{7DA14F94-C5E8-4A7E-BB34-7AD08F6733B9}" dt="2025-05-28T07:19:20.832" v="513" actId="20577"/>
          <ac:graphicFrameMkLst>
            <pc:docMk/>
            <pc:sldMk cId="3403655098" sldId="2147483537"/>
            <ac:graphicFrameMk id="3" creationId="{CB1F7A2E-8AEC-46DF-AC9C-C19C73CF1461}"/>
          </ac:graphicFrameMkLst>
        </pc:graphicFrameChg>
        <pc:picChg chg="mod">
          <ac:chgData name="Chamaria, Shridhar" userId="8333b265-e735-45f8-a921-ce459cc3483a" providerId="ADAL" clId="{7DA14F94-C5E8-4A7E-BB34-7AD08F6733B9}" dt="2025-05-28T07:10:46.070" v="493" actId="14100"/>
          <ac:picMkLst>
            <pc:docMk/>
            <pc:sldMk cId="3403655098" sldId="2147483537"/>
            <ac:picMk id="8" creationId="{3060FFA6-84E5-F4C4-9138-1DAEA9E98C20}"/>
          </ac:picMkLst>
        </pc:picChg>
        <pc:picChg chg="mod">
          <ac:chgData name="Chamaria, Shridhar" userId="8333b265-e735-45f8-a921-ce459cc3483a" providerId="ADAL" clId="{7DA14F94-C5E8-4A7E-BB34-7AD08F6733B9}" dt="2025-05-28T07:10:56.479" v="495" actId="14100"/>
          <ac:picMkLst>
            <pc:docMk/>
            <pc:sldMk cId="3403655098" sldId="2147483537"/>
            <ac:picMk id="42" creationId="{3D2C47B4-F2EB-490A-D99A-031ACC88B765}"/>
          </ac:picMkLst>
        </pc:picChg>
      </pc:sldChg>
      <pc:sldChg chg="addSp delSp modSp mod">
        <pc:chgData name="Chamaria, Shridhar" userId="8333b265-e735-45f8-a921-ce459cc3483a" providerId="ADAL" clId="{7DA14F94-C5E8-4A7E-BB34-7AD08F6733B9}" dt="2025-05-28T07:31:02.022" v="702"/>
        <pc:sldMkLst>
          <pc:docMk/>
          <pc:sldMk cId="1321705126" sldId="2147483539"/>
        </pc:sldMkLst>
        <pc:spChg chg="mod">
          <ac:chgData name="Chamaria, Shridhar" userId="8333b265-e735-45f8-a921-ce459cc3483a" providerId="ADAL" clId="{7DA14F94-C5E8-4A7E-BB34-7AD08F6733B9}" dt="2025-05-28T07:31:02.022" v="702"/>
          <ac:spMkLst>
            <pc:docMk/>
            <pc:sldMk cId="1321705126" sldId="2147483539"/>
            <ac:spMk id="2" creationId="{3DDB9358-62F7-B7D9-BDC2-E16E86B30A0F}"/>
          </ac:spMkLst>
        </pc:spChg>
        <pc:spChg chg="mod">
          <ac:chgData name="Chamaria, Shridhar" userId="8333b265-e735-45f8-a921-ce459cc3483a" providerId="ADAL" clId="{7DA14F94-C5E8-4A7E-BB34-7AD08F6733B9}" dt="2025-05-28T07:27:10.570" v="586" actId="948"/>
          <ac:spMkLst>
            <pc:docMk/>
            <pc:sldMk cId="1321705126" sldId="2147483539"/>
            <ac:spMk id="3" creationId="{6B3CA210-6BC3-4334-BB0B-46C8A3913293}"/>
          </ac:spMkLst>
        </pc:spChg>
        <pc:spChg chg="mod">
          <ac:chgData name="Chamaria, Shridhar" userId="8333b265-e735-45f8-a921-ce459cc3483a" providerId="ADAL" clId="{7DA14F94-C5E8-4A7E-BB34-7AD08F6733B9}" dt="2025-05-28T07:30:06.475" v="696"/>
          <ac:spMkLst>
            <pc:docMk/>
            <pc:sldMk cId="1321705126" sldId="2147483539"/>
            <ac:spMk id="4" creationId="{99FE2765-97D8-2EF7-89D9-6A4D4004E470}"/>
          </ac:spMkLst>
        </pc:spChg>
        <pc:spChg chg="add del mod modVis">
          <ac:chgData name="Chamaria, Shridhar" userId="8333b265-e735-45f8-a921-ce459cc3483a" providerId="ADAL" clId="{7DA14F94-C5E8-4A7E-BB34-7AD08F6733B9}" dt="2025-05-28T07:27:10.597" v="613"/>
          <ac:spMkLst>
            <pc:docMk/>
            <pc:sldMk cId="1321705126" sldId="2147483539"/>
            <ac:spMk id="5" creationId="{57B2A51D-34C9-71EF-1759-55C2D1C12BD1}"/>
          </ac:spMkLst>
        </pc:spChg>
        <pc:spChg chg="mod">
          <ac:chgData name="Chamaria, Shridhar" userId="8333b265-e735-45f8-a921-ce459cc3483a" providerId="ADAL" clId="{7DA14F94-C5E8-4A7E-BB34-7AD08F6733B9}" dt="2025-05-28T07:27:57.949" v="657" actId="20577"/>
          <ac:spMkLst>
            <pc:docMk/>
            <pc:sldMk cId="1321705126" sldId="2147483539"/>
            <ac:spMk id="14" creationId="{763B2FC3-DE61-CD57-B7F2-9D01BEEB064B}"/>
          </ac:spMkLst>
        </pc:spChg>
        <pc:spChg chg="mod">
          <ac:chgData name="Chamaria, Shridhar" userId="8333b265-e735-45f8-a921-ce459cc3483a" providerId="ADAL" clId="{7DA14F94-C5E8-4A7E-BB34-7AD08F6733B9}" dt="2025-05-28T07:27:38.050" v="651" actId="20577"/>
          <ac:spMkLst>
            <pc:docMk/>
            <pc:sldMk cId="1321705126" sldId="2147483539"/>
            <ac:spMk id="20" creationId="{6F40655E-3987-4973-9F3A-9DCB55607EBB}"/>
          </ac:spMkLst>
        </pc:spChg>
        <pc:spChg chg="mod">
          <ac:chgData name="Chamaria, Shridhar" userId="8333b265-e735-45f8-a921-ce459cc3483a" providerId="ADAL" clId="{7DA14F94-C5E8-4A7E-BB34-7AD08F6733B9}" dt="2025-05-28T07:29:20.035" v="693" actId="20577"/>
          <ac:spMkLst>
            <pc:docMk/>
            <pc:sldMk cId="1321705126" sldId="2147483539"/>
            <ac:spMk id="52" creationId="{AECD22EE-F70D-8EDE-06D1-7354E8CBEED9}"/>
          </ac:spMkLst>
        </pc:spChg>
        <pc:graphicFrameChg chg="add mod ord modVis">
          <ac:chgData name="Chamaria, Shridhar" userId="8333b265-e735-45f8-a921-ce459cc3483a" providerId="ADAL" clId="{7DA14F94-C5E8-4A7E-BB34-7AD08F6733B9}" dt="2025-05-28T07:27:10.634" v="627"/>
          <ac:graphicFrameMkLst>
            <pc:docMk/>
            <pc:sldMk cId="1321705126" sldId="2147483539"/>
            <ac:graphicFrameMk id="6" creationId="{DE3C2494-4331-C652-57A9-B5A3E9BDBF65}"/>
          </ac:graphicFrameMkLst>
        </pc:graphicFrameChg>
      </pc:sldChg>
      <pc:sldChg chg="addSp delSp modSp mod">
        <pc:chgData name="Chamaria, Shridhar" userId="8333b265-e735-45f8-a921-ce459cc3483a" providerId="ADAL" clId="{7DA14F94-C5E8-4A7E-BB34-7AD08F6733B9}" dt="2025-05-28T07:44:04.748" v="876" actId="20577"/>
        <pc:sldMkLst>
          <pc:docMk/>
          <pc:sldMk cId="2132171258" sldId="2147483540"/>
        </pc:sldMkLst>
        <pc:spChg chg="mod">
          <ac:chgData name="Chamaria, Shridhar" userId="8333b265-e735-45f8-a921-ce459cc3483a" providerId="ADAL" clId="{7DA14F94-C5E8-4A7E-BB34-7AD08F6733B9}" dt="2025-05-28T06:59:39.586" v="82" actId="948"/>
          <ac:spMkLst>
            <pc:docMk/>
            <pc:sldMk cId="2132171258" sldId="2147483540"/>
            <ac:spMk id="2" creationId="{F3CD9E7A-2C48-45D0-B2AA-06261B1AB34B}"/>
          </ac:spMkLst>
        </pc:spChg>
        <pc:spChg chg="add del mod modVis">
          <ac:chgData name="Chamaria, Shridhar" userId="8333b265-e735-45f8-a921-ce459cc3483a" providerId="ADAL" clId="{7DA14F94-C5E8-4A7E-BB34-7AD08F6733B9}" dt="2025-05-28T06:59:39.624" v="109"/>
          <ac:spMkLst>
            <pc:docMk/>
            <pc:sldMk cId="2132171258" sldId="2147483540"/>
            <ac:spMk id="3" creationId="{70197D64-0A64-8BD2-F295-E0F6E4F5B26A}"/>
          </ac:spMkLst>
        </pc:spChg>
        <pc:spChg chg="add del">
          <ac:chgData name="Chamaria, Shridhar" userId="8333b265-e735-45f8-a921-ce459cc3483a" providerId="ADAL" clId="{7DA14F94-C5E8-4A7E-BB34-7AD08F6733B9}" dt="2025-05-28T07:00:19.084" v="134" actId="478"/>
          <ac:spMkLst>
            <pc:docMk/>
            <pc:sldMk cId="2132171258" sldId="2147483540"/>
            <ac:spMk id="5" creationId="{1F7CFBAC-DBED-9B1D-45D3-667FCA8BE279}"/>
          </ac:spMkLst>
        </pc:spChg>
        <pc:spChg chg="mod">
          <ac:chgData name="Chamaria, Shridhar" userId="8333b265-e735-45f8-a921-ce459cc3483a" providerId="ADAL" clId="{7DA14F94-C5E8-4A7E-BB34-7AD08F6733B9}" dt="2025-05-28T06:59:50.796" v="131" actId="20577"/>
          <ac:spMkLst>
            <pc:docMk/>
            <pc:sldMk cId="2132171258" sldId="2147483540"/>
            <ac:spMk id="18" creationId="{21B17648-04D4-CF65-0948-B2667F8E633A}"/>
          </ac:spMkLst>
        </pc:spChg>
        <pc:spChg chg="add mod">
          <ac:chgData name="Chamaria, Shridhar" userId="8333b265-e735-45f8-a921-ce459cc3483a" providerId="ADAL" clId="{7DA14F94-C5E8-4A7E-BB34-7AD08F6733B9}" dt="2025-05-28T07:44:04.748" v="876" actId="20577"/>
          <ac:spMkLst>
            <pc:docMk/>
            <pc:sldMk cId="2132171258" sldId="2147483540"/>
            <ac:spMk id="21" creationId="{647F6A55-BB50-36EA-D808-ED2CBB9E7F18}"/>
          </ac:spMkLst>
        </pc:spChg>
        <pc:spChg chg="add del mod">
          <ac:chgData name="Chamaria, Shridhar" userId="8333b265-e735-45f8-a921-ce459cc3483a" providerId="ADAL" clId="{7DA14F94-C5E8-4A7E-BB34-7AD08F6733B9}" dt="2025-05-28T07:00:54.104" v="255" actId="478"/>
          <ac:spMkLst>
            <pc:docMk/>
            <pc:sldMk cId="2132171258" sldId="2147483540"/>
            <ac:spMk id="24" creationId="{EB6FD34D-8E62-6C41-4EF7-58D35100D904}"/>
          </ac:spMkLst>
        </pc:spChg>
        <pc:spChg chg="add mod">
          <ac:chgData name="Chamaria, Shridhar" userId="8333b265-e735-45f8-a921-ce459cc3483a" providerId="ADAL" clId="{7DA14F94-C5E8-4A7E-BB34-7AD08F6733B9}" dt="2025-05-28T07:03:20.809" v="406" actId="1036"/>
          <ac:spMkLst>
            <pc:docMk/>
            <pc:sldMk cId="2132171258" sldId="2147483540"/>
            <ac:spMk id="25" creationId="{B853551F-9483-1353-77C5-442434D37AA1}"/>
          </ac:spMkLst>
        </pc:spChg>
        <pc:spChg chg="add mod">
          <ac:chgData name="Chamaria, Shridhar" userId="8333b265-e735-45f8-a921-ce459cc3483a" providerId="ADAL" clId="{7DA14F94-C5E8-4A7E-BB34-7AD08F6733B9}" dt="2025-05-28T07:03:20.809" v="406" actId="1036"/>
          <ac:spMkLst>
            <pc:docMk/>
            <pc:sldMk cId="2132171258" sldId="2147483540"/>
            <ac:spMk id="26" creationId="{C851E0BE-B76E-794D-C4A0-B53231ADB3C5}"/>
          </ac:spMkLst>
        </pc:spChg>
        <pc:spChg chg="add mod">
          <ac:chgData name="Chamaria, Shridhar" userId="8333b265-e735-45f8-a921-ce459cc3483a" providerId="ADAL" clId="{7DA14F94-C5E8-4A7E-BB34-7AD08F6733B9}" dt="2025-05-28T07:03:20.809" v="406" actId="1036"/>
          <ac:spMkLst>
            <pc:docMk/>
            <pc:sldMk cId="2132171258" sldId="2147483540"/>
            <ac:spMk id="27" creationId="{0FEC84FC-8FFF-E8F8-D062-FBC2264F759D}"/>
          </ac:spMkLst>
        </pc:spChg>
        <pc:spChg chg="add mod">
          <ac:chgData name="Chamaria, Shridhar" userId="8333b265-e735-45f8-a921-ce459cc3483a" providerId="ADAL" clId="{7DA14F94-C5E8-4A7E-BB34-7AD08F6733B9}" dt="2025-05-28T07:03:20.809" v="406" actId="1036"/>
          <ac:spMkLst>
            <pc:docMk/>
            <pc:sldMk cId="2132171258" sldId="2147483540"/>
            <ac:spMk id="35" creationId="{642E76FD-0978-B44E-76CA-CD5D7E08DC17}"/>
          </ac:spMkLst>
        </pc:spChg>
        <pc:spChg chg="add mod">
          <ac:chgData name="Chamaria, Shridhar" userId="8333b265-e735-45f8-a921-ce459cc3483a" providerId="ADAL" clId="{7DA14F94-C5E8-4A7E-BB34-7AD08F6733B9}" dt="2025-05-28T07:03:20.809" v="406" actId="1036"/>
          <ac:spMkLst>
            <pc:docMk/>
            <pc:sldMk cId="2132171258" sldId="2147483540"/>
            <ac:spMk id="36" creationId="{29BF5B3E-C861-E133-26A9-E2BAD98BD15D}"/>
          </ac:spMkLst>
        </pc:spChg>
        <pc:spChg chg="add mod">
          <ac:chgData name="Chamaria, Shridhar" userId="8333b265-e735-45f8-a921-ce459cc3483a" providerId="ADAL" clId="{7DA14F94-C5E8-4A7E-BB34-7AD08F6733B9}" dt="2025-05-28T07:03:20.809" v="406" actId="1036"/>
          <ac:spMkLst>
            <pc:docMk/>
            <pc:sldMk cId="2132171258" sldId="2147483540"/>
            <ac:spMk id="37" creationId="{BBFC8CDE-F137-7A25-04A2-C0ED5739ED06}"/>
          </ac:spMkLst>
        </pc:spChg>
        <pc:spChg chg="add mod">
          <ac:chgData name="Chamaria, Shridhar" userId="8333b265-e735-45f8-a921-ce459cc3483a" providerId="ADAL" clId="{7DA14F94-C5E8-4A7E-BB34-7AD08F6733B9}" dt="2025-05-28T07:03:20.809" v="406" actId="1036"/>
          <ac:spMkLst>
            <pc:docMk/>
            <pc:sldMk cId="2132171258" sldId="2147483540"/>
            <ac:spMk id="42" creationId="{4821D8C3-88DE-9267-8396-03C5D287F774}"/>
          </ac:spMkLst>
        </pc:spChg>
        <pc:spChg chg="add mod">
          <ac:chgData name="Chamaria, Shridhar" userId="8333b265-e735-45f8-a921-ce459cc3483a" providerId="ADAL" clId="{7DA14F94-C5E8-4A7E-BB34-7AD08F6733B9}" dt="2025-05-28T07:03:20.809" v="406" actId="1036"/>
          <ac:spMkLst>
            <pc:docMk/>
            <pc:sldMk cId="2132171258" sldId="2147483540"/>
            <ac:spMk id="43" creationId="{47C0CB3B-DFED-EFA5-3B6D-F3E9BDE646BF}"/>
          </ac:spMkLst>
        </pc:spChg>
        <pc:graphicFrameChg chg="add mod ord modVis">
          <ac:chgData name="Chamaria, Shridhar" userId="8333b265-e735-45f8-a921-ce459cc3483a" providerId="ADAL" clId="{7DA14F94-C5E8-4A7E-BB34-7AD08F6733B9}" dt="2025-05-28T07:03:27.353" v="429"/>
          <ac:graphicFrameMkLst>
            <pc:docMk/>
            <pc:sldMk cId="2132171258" sldId="2147483540"/>
            <ac:graphicFrameMk id="4" creationId="{3FFF321B-8C5B-119C-F15A-F9A998540897}"/>
          </ac:graphicFrameMkLst>
        </pc:graphicFrameChg>
        <pc:picChg chg="del">
          <ac:chgData name="Chamaria, Shridhar" userId="8333b265-e735-45f8-a921-ce459cc3483a" providerId="ADAL" clId="{7DA14F94-C5E8-4A7E-BB34-7AD08F6733B9}" dt="2025-05-28T07:02:59.928" v="288" actId="478"/>
          <ac:picMkLst>
            <pc:docMk/>
            <pc:sldMk cId="2132171258" sldId="2147483540"/>
            <ac:picMk id="8" creationId="{35B42662-6CC5-6295-C201-250E03E41B82}"/>
          </ac:picMkLst>
        </pc:picChg>
        <pc:picChg chg="del">
          <ac:chgData name="Chamaria, Shridhar" userId="8333b265-e735-45f8-a921-ce459cc3483a" providerId="ADAL" clId="{7DA14F94-C5E8-4A7E-BB34-7AD08F6733B9}" dt="2025-05-28T07:02:59.058" v="286" actId="478"/>
          <ac:picMkLst>
            <pc:docMk/>
            <pc:sldMk cId="2132171258" sldId="2147483540"/>
            <ac:picMk id="9" creationId="{9006ED32-4EC0-3196-E6F5-670CC3237971}"/>
          </ac:picMkLst>
        </pc:picChg>
        <pc:picChg chg="del">
          <ac:chgData name="Chamaria, Shridhar" userId="8333b265-e735-45f8-a921-ce459cc3483a" providerId="ADAL" clId="{7DA14F94-C5E8-4A7E-BB34-7AD08F6733B9}" dt="2025-05-28T07:02:59.490" v="287" actId="478"/>
          <ac:picMkLst>
            <pc:docMk/>
            <pc:sldMk cId="2132171258" sldId="2147483540"/>
            <ac:picMk id="10" creationId="{8A0E9B00-9E97-3E42-2A0E-7B2E3B792A7E}"/>
          </ac:picMkLst>
        </pc:picChg>
        <pc:picChg chg="del">
          <ac:chgData name="Chamaria, Shridhar" userId="8333b265-e735-45f8-a921-ce459cc3483a" providerId="ADAL" clId="{7DA14F94-C5E8-4A7E-BB34-7AD08F6733B9}" dt="2025-05-28T07:03:00.909" v="290" actId="478"/>
          <ac:picMkLst>
            <pc:docMk/>
            <pc:sldMk cId="2132171258" sldId="2147483540"/>
            <ac:picMk id="11" creationId="{5B01F7B2-9BA8-2325-6ADB-50AC7E740C7B}"/>
          </ac:picMkLst>
        </pc:picChg>
        <pc:picChg chg="del">
          <ac:chgData name="Chamaria, Shridhar" userId="8333b265-e735-45f8-a921-ce459cc3483a" providerId="ADAL" clId="{7DA14F94-C5E8-4A7E-BB34-7AD08F6733B9}" dt="2025-05-28T07:03:00.278" v="289" actId="478"/>
          <ac:picMkLst>
            <pc:docMk/>
            <pc:sldMk cId="2132171258" sldId="2147483540"/>
            <ac:picMk id="12" creationId="{F86EFEDB-B6B6-A790-70C8-CDFEC5E5C299}"/>
          </ac:picMkLst>
        </pc:picChg>
        <pc:picChg chg="del">
          <ac:chgData name="Chamaria, Shridhar" userId="8333b265-e735-45f8-a921-ce459cc3483a" providerId="ADAL" clId="{7DA14F94-C5E8-4A7E-BB34-7AD08F6733B9}" dt="2025-05-28T07:02:58.626" v="285" actId="478"/>
          <ac:picMkLst>
            <pc:docMk/>
            <pc:sldMk cId="2132171258" sldId="2147483540"/>
            <ac:picMk id="13" creationId="{3B5F7241-C2ED-7099-2596-21E097C81BA1}"/>
          </ac:picMkLst>
        </pc:picChg>
        <pc:picChg chg="del">
          <ac:chgData name="Chamaria, Shridhar" userId="8333b265-e735-45f8-a921-ce459cc3483a" providerId="ADAL" clId="{7DA14F94-C5E8-4A7E-BB34-7AD08F6733B9}" dt="2025-05-28T07:03:01.248" v="291" actId="478"/>
          <ac:picMkLst>
            <pc:docMk/>
            <pc:sldMk cId="2132171258" sldId="2147483540"/>
            <ac:picMk id="19" creationId="{8C7BD7FB-85E0-6C26-C695-E52ADDEA2227}"/>
          </ac:picMkLst>
        </pc:picChg>
        <pc:picChg chg="del">
          <ac:chgData name="Chamaria, Shridhar" userId="8333b265-e735-45f8-a921-ce459cc3483a" providerId="ADAL" clId="{7DA14F94-C5E8-4A7E-BB34-7AD08F6733B9}" dt="2025-05-28T07:02:58.249" v="284" actId="478"/>
          <ac:picMkLst>
            <pc:docMk/>
            <pc:sldMk cId="2132171258" sldId="2147483540"/>
            <ac:picMk id="20" creationId="{5331DF6B-F22B-E667-9C59-ADE3295484FA}"/>
          </ac:picMkLst>
        </pc:picChg>
        <pc:picChg chg="del">
          <ac:chgData name="Chamaria, Shridhar" userId="8333b265-e735-45f8-a921-ce459cc3483a" providerId="ADAL" clId="{7DA14F94-C5E8-4A7E-BB34-7AD08F6733B9}" dt="2025-05-28T06:59:59.586" v="132" actId="478"/>
          <ac:picMkLst>
            <pc:docMk/>
            <pc:sldMk cId="2132171258" sldId="2147483540"/>
            <ac:picMk id="1026" creationId="{0AE7ACA4-4C69-6962-B20E-E816D9752504}"/>
          </ac:picMkLst>
        </pc:picChg>
      </pc:sldChg>
      <pc:sldChg chg="addSp delSp modSp mod">
        <pc:chgData name="Chamaria, Shridhar" userId="8333b265-e735-45f8-a921-ce459cc3483a" providerId="ADAL" clId="{7DA14F94-C5E8-4A7E-BB34-7AD08F6733B9}" dt="2025-05-28T06:59:08.650" v="75"/>
        <pc:sldMkLst>
          <pc:docMk/>
          <pc:sldMk cId="3344490201" sldId="2147483541"/>
        </pc:sldMkLst>
        <pc:spChg chg="mod">
          <ac:chgData name="Chamaria, Shridhar" userId="8333b265-e735-45f8-a921-ce459cc3483a" providerId="ADAL" clId="{7DA14F94-C5E8-4A7E-BB34-7AD08F6733B9}" dt="2025-05-28T06:55:47.193" v="29" actId="948"/>
          <ac:spMkLst>
            <pc:docMk/>
            <pc:sldMk cId="3344490201" sldId="2147483541"/>
            <ac:spMk id="2" creationId="{1F6ADACD-6925-4DE8-A425-F595D8D8D9A9}"/>
          </ac:spMkLst>
        </pc:spChg>
        <pc:spChg chg="add del mod modVis">
          <ac:chgData name="Chamaria, Shridhar" userId="8333b265-e735-45f8-a921-ce459cc3483a" providerId="ADAL" clId="{7DA14F94-C5E8-4A7E-BB34-7AD08F6733B9}" dt="2025-05-28T06:55:47.224" v="49"/>
          <ac:spMkLst>
            <pc:docMk/>
            <pc:sldMk cId="3344490201" sldId="2147483541"/>
            <ac:spMk id="3" creationId="{DF7794E7-C0EF-1940-48C0-BF7C8380B14D}"/>
          </ac:spMkLst>
        </pc:spChg>
        <pc:spChg chg="mod">
          <ac:chgData name="Chamaria, Shridhar" userId="8333b265-e735-45f8-a921-ce459cc3483a" providerId="ADAL" clId="{7DA14F94-C5E8-4A7E-BB34-7AD08F6733B9}" dt="2025-05-28T06:56:29.090" v="69"/>
          <ac:spMkLst>
            <pc:docMk/>
            <pc:sldMk cId="3344490201" sldId="2147483541"/>
            <ac:spMk id="11" creationId="{D7159B31-B245-9740-3AE9-E237202E9516}"/>
          </ac:spMkLst>
        </pc:spChg>
        <pc:spChg chg="mod">
          <ac:chgData name="Chamaria, Shridhar" userId="8333b265-e735-45f8-a921-ce459cc3483a" providerId="ADAL" clId="{7DA14F94-C5E8-4A7E-BB34-7AD08F6733B9}" dt="2025-05-28T06:54:52.860" v="2"/>
          <ac:spMkLst>
            <pc:docMk/>
            <pc:sldMk cId="3344490201" sldId="2147483541"/>
            <ac:spMk id="41" creationId="{5B3228B7-D118-4C7B-B676-2AFAFED190A9}"/>
          </ac:spMkLst>
        </pc:spChg>
        <pc:spChg chg="mod">
          <ac:chgData name="Chamaria, Shridhar" userId="8333b265-e735-45f8-a921-ce459cc3483a" providerId="ADAL" clId="{7DA14F94-C5E8-4A7E-BB34-7AD08F6733B9}" dt="2025-05-28T06:59:08.650" v="75"/>
          <ac:spMkLst>
            <pc:docMk/>
            <pc:sldMk cId="3344490201" sldId="2147483541"/>
            <ac:spMk id="43" creationId="{7163778C-BC9B-4B05-8AEF-8EE24A152DCB}"/>
          </ac:spMkLst>
        </pc:spChg>
        <pc:spChg chg="mod">
          <ac:chgData name="Chamaria, Shridhar" userId="8333b265-e735-45f8-a921-ce459cc3483a" providerId="ADAL" clId="{7DA14F94-C5E8-4A7E-BB34-7AD08F6733B9}" dt="2025-05-28T06:55:28.949" v="22" actId="20577"/>
          <ac:spMkLst>
            <pc:docMk/>
            <pc:sldMk cId="3344490201" sldId="2147483541"/>
            <ac:spMk id="72" creationId="{C205B097-256C-9026-9E50-CFFED47CAB8F}"/>
          </ac:spMkLst>
        </pc:spChg>
        <pc:spChg chg="mod">
          <ac:chgData name="Chamaria, Shridhar" userId="8333b265-e735-45f8-a921-ce459cc3483a" providerId="ADAL" clId="{7DA14F94-C5E8-4A7E-BB34-7AD08F6733B9}" dt="2025-05-28T06:55:04.060" v="8" actId="20577"/>
          <ac:spMkLst>
            <pc:docMk/>
            <pc:sldMk cId="3344490201" sldId="2147483541"/>
            <ac:spMk id="75" creationId="{BC87B178-89BD-8624-E954-E569D9D524A2}"/>
          </ac:spMkLst>
        </pc:spChg>
        <pc:graphicFrameChg chg="add mod ord modVis">
          <ac:chgData name="Chamaria, Shridhar" userId="8333b265-e735-45f8-a921-ce459cc3483a" providerId="ADAL" clId="{7DA14F94-C5E8-4A7E-BB34-7AD08F6733B9}" dt="2025-05-28T06:55:47.270" v="63"/>
          <ac:graphicFrameMkLst>
            <pc:docMk/>
            <pc:sldMk cId="3344490201" sldId="2147483541"/>
            <ac:graphicFrameMk id="4" creationId="{1143E068-3177-4991-2B95-835514EE037A}"/>
          </ac:graphicFrameMkLst>
        </pc:graphicFrameChg>
      </pc:sldChg>
    </pc:docChg>
  </pc:docChgLst>
  <pc:docChgLst>
    <pc:chgData name="Chamaria, Shridhar" userId="8333b265-e735-45f8-a921-ce459cc3483a" providerId="ADAL" clId="{CAAC2C43-FD8A-4E33-BA16-4006F2DF0BD8}"/>
    <pc:docChg chg="custSel addSld modSld">
      <pc:chgData name="Chamaria, Shridhar" userId="8333b265-e735-45f8-a921-ce459cc3483a" providerId="ADAL" clId="{CAAC2C43-FD8A-4E33-BA16-4006F2DF0BD8}" dt="2025-05-29T11:20:32.001" v="146"/>
      <pc:docMkLst>
        <pc:docMk/>
      </pc:docMkLst>
      <pc:sldChg chg="addSp delSp modSp add mod">
        <pc:chgData name="Chamaria, Shridhar" userId="8333b265-e735-45f8-a921-ce459cc3483a" providerId="ADAL" clId="{CAAC2C43-FD8A-4E33-BA16-4006F2DF0BD8}" dt="2025-05-29T11:20:32.001" v="146"/>
        <pc:sldMkLst>
          <pc:docMk/>
          <pc:sldMk cId="3147993296" sldId="326"/>
        </pc:sldMkLst>
        <pc:spChg chg="mod">
          <ac:chgData name="Chamaria, Shridhar" userId="8333b265-e735-45f8-a921-ce459cc3483a" providerId="ADAL" clId="{CAAC2C43-FD8A-4E33-BA16-4006F2DF0BD8}" dt="2025-05-29T11:20:32.001" v="144" actId="948"/>
          <ac:spMkLst>
            <pc:docMk/>
            <pc:sldMk cId="3147993296" sldId="326"/>
            <ac:spMk id="3" creationId="{FBD7D053-33B8-42F5-A1D9-DB27B4FBC23D}"/>
          </ac:spMkLst>
        </pc:spChg>
        <pc:spChg chg="add mod">
          <ac:chgData name="Chamaria, Shridhar" userId="8333b265-e735-45f8-a921-ce459cc3483a" providerId="ADAL" clId="{CAAC2C43-FD8A-4E33-BA16-4006F2DF0BD8}" dt="2025-05-29T11:20:08.564" v="63"/>
          <ac:spMkLst>
            <pc:docMk/>
            <pc:sldMk cId="3147993296" sldId="326"/>
            <ac:spMk id="8" creationId="{95BAF6A6-E5C7-43D6-86D0-F5E30FE27D96}"/>
          </ac:spMkLst>
        </pc:spChg>
        <pc:spChg chg="add mod">
          <ac:chgData name="Chamaria, Shridhar" userId="8333b265-e735-45f8-a921-ce459cc3483a" providerId="ADAL" clId="{CAAC2C43-FD8A-4E33-BA16-4006F2DF0BD8}" dt="2025-05-29T11:20:08.564" v="65"/>
          <ac:spMkLst>
            <pc:docMk/>
            <pc:sldMk cId="3147993296" sldId="326"/>
            <ac:spMk id="9" creationId="{4FC8D164-B8AF-B47D-B898-ADE45C9DEEFA}"/>
          </ac:spMkLst>
        </pc:spChg>
        <pc:spChg chg="add mod">
          <ac:chgData name="Chamaria, Shridhar" userId="8333b265-e735-45f8-a921-ce459cc3483a" providerId="ADAL" clId="{CAAC2C43-FD8A-4E33-BA16-4006F2DF0BD8}" dt="2025-05-29T11:20:08.564" v="63"/>
          <ac:spMkLst>
            <pc:docMk/>
            <pc:sldMk cId="3147993296" sldId="326"/>
            <ac:spMk id="10" creationId="{3E8CCDF1-DED2-47F2-0A5F-47B0EB07783B}"/>
          </ac:spMkLst>
        </pc:spChg>
        <pc:spChg chg="add mod">
          <ac:chgData name="Chamaria, Shridhar" userId="8333b265-e735-45f8-a921-ce459cc3483a" providerId="ADAL" clId="{CAAC2C43-FD8A-4E33-BA16-4006F2DF0BD8}" dt="2025-05-29T11:20:08.564" v="65"/>
          <ac:spMkLst>
            <pc:docMk/>
            <pc:sldMk cId="3147993296" sldId="326"/>
            <ac:spMk id="11" creationId="{8F013C24-F5F2-01B8-447F-B2CFD57F17AA}"/>
          </ac:spMkLst>
        </pc:spChg>
        <pc:spChg chg="add del mod modVis">
          <ac:chgData name="Chamaria, Shridhar" userId="8333b265-e735-45f8-a921-ce459cc3483a" providerId="ADAL" clId="{CAAC2C43-FD8A-4E33-BA16-4006F2DF0BD8}" dt="2025-05-29T11:20:12.892" v="89"/>
          <ac:spMkLst>
            <pc:docMk/>
            <pc:sldMk cId="3147993296" sldId="326"/>
            <ac:spMk id="14" creationId="{7AA3782B-E0EF-04C5-C62B-0407E08510B6}"/>
          </ac:spMkLst>
        </pc:spChg>
        <pc:grpChg chg="add mod">
          <ac:chgData name="Chamaria, Shridhar" userId="8333b265-e735-45f8-a921-ce459cc3483a" providerId="ADAL" clId="{CAAC2C43-FD8A-4E33-BA16-4006F2DF0BD8}" dt="2025-05-29T11:20:08.564" v="64"/>
          <ac:grpSpMkLst>
            <pc:docMk/>
            <pc:sldMk cId="3147993296" sldId="326"/>
            <ac:grpSpMk id="12" creationId="{55701676-85FF-7719-72BA-EB664CD75E2F}"/>
          </ac:grpSpMkLst>
        </pc:grpChg>
        <pc:grpChg chg="add mod">
          <ac:chgData name="Chamaria, Shridhar" userId="8333b265-e735-45f8-a921-ce459cc3483a" providerId="ADAL" clId="{CAAC2C43-FD8A-4E33-BA16-4006F2DF0BD8}" dt="2025-05-29T11:20:08.564" v="66"/>
          <ac:grpSpMkLst>
            <pc:docMk/>
            <pc:sldMk cId="3147993296" sldId="326"/>
            <ac:grpSpMk id="13" creationId="{60334F73-146C-A587-0860-177A6664BF4A}"/>
          </ac:grpSpMkLst>
        </pc:grpChg>
        <pc:grpChg chg="del">
          <ac:chgData name="Chamaria, Shridhar" userId="8333b265-e735-45f8-a921-ce459cc3483a" providerId="ADAL" clId="{CAAC2C43-FD8A-4E33-BA16-4006F2DF0BD8}" dt="2025-05-29T11:20:08.542" v="2"/>
          <ac:grpSpMkLst>
            <pc:docMk/>
            <pc:sldMk cId="3147993296" sldId="326"/>
            <ac:grpSpMk id="35" creationId="{8708164D-489D-4299-BEF3-C0994B2DBBE5}"/>
          </ac:grpSpMkLst>
        </pc:grpChg>
        <pc:grpChg chg="del">
          <ac:chgData name="Chamaria, Shridhar" userId="8333b265-e735-45f8-a921-ce459cc3483a" providerId="ADAL" clId="{CAAC2C43-FD8A-4E33-BA16-4006F2DF0BD8}" dt="2025-05-29T11:20:08.542" v="1"/>
          <ac:grpSpMkLst>
            <pc:docMk/>
            <pc:sldMk cId="3147993296" sldId="326"/>
            <ac:grpSpMk id="36" creationId="{6737429C-6A80-42DD-A9C5-605DAAC7BBCB}"/>
          </ac:grpSpMkLst>
        </pc:grpChg>
        <pc:graphicFrameChg chg="mod">
          <ac:chgData name="Chamaria, Shridhar" userId="8333b265-e735-45f8-a921-ce459cc3483a" providerId="ADAL" clId="{CAAC2C43-FD8A-4E33-BA16-4006F2DF0BD8}" dt="2025-05-29T11:20:32.001" v="146"/>
          <ac:graphicFrameMkLst>
            <pc:docMk/>
            <pc:sldMk cId="3147993296" sldId="326"/>
            <ac:graphicFrameMk id="5" creationId="{D20B36EA-A7FC-DE1C-B24A-EF2BF6BE694C}"/>
          </ac:graphicFrameMkLst>
        </pc:graphicFrameChg>
        <pc:cxnChg chg="add mod ord">
          <ac:chgData name="Chamaria, Shridhar" userId="8333b265-e735-45f8-a921-ce459cc3483a" providerId="ADAL" clId="{CAAC2C43-FD8A-4E33-BA16-4006F2DF0BD8}" dt="2025-05-29T11:20:08.564" v="63"/>
          <ac:cxnSpMkLst>
            <pc:docMk/>
            <pc:sldMk cId="3147993296" sldId="326"/>
            <ac:cxnSpMk id="2" creationId="{4F27F2A2-5048-4787-F15A-E75573D4CFC3}"/>
          </ac:cxnSpMkLst>
        </pc:cxnChg>
        <pc:cxnChg chg="add mod ord">
          <ac:chgData name="Chamaria, Shridhar" userId="8333b265-e735-45f8-a921-ce459cc3483a" providerId="ADAL" clId="{CAAC2C43-FD8A-4E33-BA16-4006F2DF0BD8}" dt="2025-05-29T11:20:08.564" v="65"/>
          <ac:cxnSpMkLst>
            <pc:docMk/>
            <pc:sldMk cId="3147993296" sldId="326"/>
            <ac:cxnSpMk id="4" creationId="{BB6F7450-2247-B4A8-5267-D390F095E0B0}"/>
          </ac:cxnSpMkLst>
        </pc:cxnChg>
        <pc:cxnChg chg="add mod ord">
          <ac:chgData name="Chamaria, Shridhar" userId="8333b265-e735-45f8-a921-ce459cc3483a" providerId="ADAL" clId="{CAAC2C43-FD8A-4E33-BA16-4006F2DF0BD8}" dt="2025-05-29T11:20:08.564" v="63"/>
          <ac:cxnSpMkLst>
            <pc:docMk/>
            <pc:sldMk cId="3147993296" sldId="326"/>
            <ac:cxnSpMk id="6" creationId="{D7B075F5-D682-4204-9845-F4B4A0633C8E}"/>
          </ac:cxnSpMkLst>
        </pc:cxnChg>
        <pc:cxnChg chg="add mod ord">
          <ac:chgData name="Chamaria, Shridhar" userId="8333b265-e735-45f8-a921-ce459cc3483a" providerId="ADAL" clId="{CAAC2C43-FD8A-4E33-BA16-4006F2DF0BD8}" dt="2025-05-29T11:20:08.564" v="65"/>
          <ac:cxnSpMkLst>
            <pc:docMk/>
            <pc:sldMk cId="3147993296" sldId="326"/>
            <ac:cxnSpMk id="7" creationId="{08E62305-AFC0-2DC8-4FBF-B24DD17D19CF}"/>
          </ac:cxnSpMkLst>
        </pc:cxnChg>
      </pc:sldChg>
    </pc:docChg>
  </pc:docChgLst>
  <pc:docChgLst>
    <pc:chgData name="Singh, Saurabh" userId="f070277a-f207-4a37-b703-28b59231ffa2" providerId="ADAL" clId="{DB85FBB2-449E-4C39-B757-CD1F15643372}"/>
    <pc:docChg chg="addSld modSld">
      <pc:chgData name="Singh, Saurabh" userId="f070277a-f207-4a37-b703-28b59231ffa2" providerId="ADAL" clId="{DB85FBB2-449E-4C39-B757-CD1F15643372}" dt="2025-05-22T07:30:52.657" v="0"/>
      <pc:docMkLst>
        <pc:docMk/>
      </pc:docMkLst>
      <pc:sldChg chg="add">
        <pc:chgData name="Singh, Saurabh" userId="f070277a-f207-4a37-b703-28b59231ffa2" providerId="ADAL" clId="{DB85FBB2-449E-4C39-B757-CD1F15643372}" dt="2025-05-22T07:30:52.657" v="0"/>
        <pc:sldMkLst>
          <pc:docMk/>
          <pc:sldMk cId="2132171258" sldId="2147483540"/>
        </pc:sldMkLst>
      </pc:sldChg>
      <pc:sldChg chg="add">
        <pc:chgData name="Singh, Saurabh" userId="f070277a-f207-4a37-b703-28b59231ffa2" providerId="ADAL" clId="{DB85FBB2-449E-4C39-B757-CD1F15643372}" dt="2025-05-22T07:30:52.657" v="0"/>
        <pc:sldMkLst>
          <pc:docMk/>
          <pc:sldMk cId="3344490201" sldId="2147483541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5B498E-4C83-4DC3-9A00-7FC74F9F5D6C}" type="datetimeFigureOut">
              <a:rPr lang="en-US" smtClean="0"/>
              <a:t>5/2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BA6E28-55C1-42B2-A996-3EFCBA07FE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06902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974784-583F-4489-B969-EF3A124BB7C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8346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A2EC08-AF2C-44E8-80A1-5FE7B6614C95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46570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A2EC08-AF2C-44E8-80A1-5FE7B6614C95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39990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7047A61-CFC6-4D11-8AB8-FAFC8C770B14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28192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D11C9F-58E7-4BBA-B835-DF3D918F6B5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2014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int feb12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oleObject" Target="../embeddings/oleObject3.bin"/><Relationship Id="rId18" Type="http://schemas.openxmlformats.org/officeDocument/2006/relationships/image" Target="../media/image9.png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8.jpeg"/><Relationship Id="rId2" Type="http://schemas.openxmlformats.org/officeDocument/2006/relationships/tags" Target="../tags/tag6.xml"/><Relationship Id="rId16" Type="http://schemas.openxmlformats.org/officeDocument/2006/relationships/image" Target="../media/image7.png"/><Relationship Id="rId20" Type="http://schemas.openxmlformats.org/officeDocument/2006/relationships/image" Target="../media/image11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9.xml"/><Relationship Id="rId15" Type="http://schemas.openxmlformats.org/officeDocument/2006/relationships/image" Target="../media/image6.emf"/><Relationship Id="rId10" Type="http://schemas.openxmlformats.org/officeDocument/2006/relationships/tags" Target="../tags/tag14.xml"/><Relationship Id="rId19" Type="http://schemas.openxmlformats.org/officeDocument/2006/relationships/image" Target="../media/image10.jpeg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oleObject" Target="../embeddings/oleObject4.bin"/><Relationship Id="rId18" Type="http://schemas.openxmlformats.org/officeDocument/2006/relationships/image" Target="../media/image14.png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notesSlide" Target="../notesSlides/notesSlide2.xml"/><Relationship Id="rId17" Type="http://schemas.openxmlformats.org/officeDocument/2006/relationships/image" Target="../media/image13.emf"/><Relationship Id="rId2" Type="http://schemas.openxmlformats.org/officeDocument/2006/relationships/tags" Target="../tags/tag16.xml"/><Relationship Id="rId16" Type="http://schemas.openxmlformats.org/officeDocument/2006/relationships/image" Target="../media/image12.emf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19.xml"/><Relationship Id="rId15" Type="http://schemas.openxmlformats.org/officeDocument/2006/relationships/image" Target="../media/image6.emf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oleObject" Target="../embeddings/oleObject5.bin"/><Relationship Id="rId18" Type="http://schemas.openxmlformats.org/officeDocument/2006/relationships/image" Target="../media/image17.png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notesSlide" Target="../notesSlides/notesSlide3.xml"/><Relationship Id="rId17" Type="http://schemas.openxmlformats.org/officeDocument/2006/relationships/image" Target="../media/image16.emf"/><Relationship Id="rId2" Type="http://schemas.openxmlformats.org/officeDocument/2006/relationships/tags" Target="../tags/tag26.xml"/><Relationship Id="rId16" Type="http://schemas.openxmlformats.org/officeDocument/2006/relationships/image" Target="../media/image15.emf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29.xml"/><Relationship Id="rId15" Type="http://schemas.openxmlformats.org/officeDocument/2006/relationships/image" Target="../media/image6.emf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image" Target="../media/image19.emf"/><Relationship Id="rId18" Type="http://schemas.openxmlformats.org/officeDocument/2006/relationships/image" Target="../media/image24.png"/><Relationship Id="rId26" Type="http://schemas.openxmlformats.org/officeDocument/2006/relationships/image" Target="../media/image32.png"/><Relationship Id="rId3" Type="http://schemas.openxmlformats.org/officeDocument/2006/relationships/tags" Target="../tags/tag37.xml"/><Relationship Id="rId21" Type="http://schemas.openxmlformats.org/officeDocument/2006/relationships/image" Target="../media/image27.png"/><Relationship Id="rId7" Type="http://schemas.openxmlformats.org/officeDocument/2006/relationships/tags" Target="../tags/tag41.xml"/><Relationship Id="rId12" Type="http://schemas.openxmlformats.org/officeDocument/2006/relationships/image" Target="../media/image18.emf"/><Relationship Id="rId17" Type="http://schemas.openxmlformats.org/officeDocument/2006/relationships/image" Target="../media/image23.png"/><Relationship Id="rId25" Type="http://schemas.openxmlformats.org/officeDocument/2006/relationships/image" Target="../media/image31.png"/><Relationship Id="rId2" Type="http://schemas.openxmlformats.org/officeDocument/2006/relationships/tags" Target="../tags/tag36.xml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29" Type="http://schemas.openxmlformats.org/officeDocument/2006/relationships/image" Target="../media/image35.png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oleObject" Target="../embeddings/oleObject6.bin"/><Relationship Id="rId24" Type="http://schemas.openxmlformats.org/officeDocument/2006/relationships/image" Target="../media/image30.png"/><Relationship Id="rId5" Type="http://schemas.openxmlformats.org/officeDocument/2006/relationships/tags" Target="../tags/tag39.xml"/><Relationship Id="rId15" Type="http://schemas.openxmlformats.org/officeDocument/2006/relationships/image" Target="../media/image21.emf"/><Relationship Id="rId23" Type="http://schemas.openxmlformats.org/officeDocument/2006/relationships/image" Target="../media/image29.png"/><Relationship Id="rId28" Type="http://schemas.openxmlformats.org/officeDocument/2006/relationships/image" Target="../media/image34.png"/><Relationship Id="rId10" Type="http://schemas.openxmlformats.org/officeDocument/2006/relationships/notesSlide" Target="../notesSlides/notesSlide4.xml"/><Relationship Id="rId19" Type="http://schemas.openxmlformats.org/officeDocument/2006/relationships/image" Target="../media/image25.png"/><Relationship Id="rId4" Type="http://schemas.openxmlformats.org/officeDocument/2006/relationships/tags" Target="../tags/tag38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20.emf"/><Relationship Id="rId22" Type="http://schemas.openxmlformats.org/officeDocument/2006/relationships/image" Target="../media/image28.png"/><Relationship Id="rId27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emf"/><Relationship Id="rId13" Type="http://schemas.openxmlformats.org/officeDocument/2006/relationships/image" Target="../media/image42.png"/><Relationship Id="rId18" Type="http://schemas.openxmlformats.org/officeDocument/2006/relationships/image" Target="../media/image47.png"/><Relationship Id="rId3" Type="http://schemas.openxmlformats.org/officeDocument/2006/relationships/tags" Target="../tags/tag45.xml"/><Relationship Id="rId7" Type="http://schemas.openxmlformats.org/officeDocument/2006/relationships/image" Target="../media/image36.emf"/><Relationship Id="rId12" Type="http://schemas.openxmlformats.org/officeDocument/2006/relationships/image" Target="../media/image41.png"/><Relationship Id="rId17" Type="http://schemas.openxmlformats.org/officeDocument/2006/relationships/image" Target="../media/image46.png"/><Relationship Id="rId2" Type="http://schemas.openxmlformats.org/officeDocument/2006/relationships/tags" Target="../tags/tag44.xml"/><Relationship Id="rId16" Type="http://schemas.openxmlformats.org/officeDocument/2006/relationships/image" Target="../media/image45.png"/><Relationship Id="rId1" Type="http://schemas.openxmlformats.org/officeDocument/2006/relationships/tags" Target="../tags/tag43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40.png"/><Relationship Id="rId5" Type="http://schemas.openxmlformats.org/officeDocument/2006/relationships/tags" Target="../tags/tag47.xml"/><Relationship Id="rId15" Type="http://schemas.openxmlformats.org/officeDocument/2006/relationships/image" Target="../media/image44.png"/><Relationship Id="rId10" Type="http://schemas.openxmlformats.org/officeDocument/2006/relationships/image" Target="../media/image39.png"/><Relationship Id="rId19" Type="http://schemas.openxmlformats.org/officeDocument/2006/relationships/image" Target="../media/image48.png"/><Relationship Id="rId4" Type="http://schemas.openxmlformats.org/officeDocument/2006/relationships/tags" Target="../tags/tag46.xml"/><Relationship Id="rId9" Type="http://schemas.openxmlformats.org/officeDocument/2006/relationships/image" Target="../media/image38.png"/><Relationship Id="rId14" Type="http://schemas.openxmlformats.org/officeDocument/2006/relationships/image" Target="../media/image4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0.xml"/><Relationship Id="rId7" Type="http://schemas.openxmlformats.org/officeDocument/2006/relationships/oleObject" Target="../embeddings/oleObject7.bin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9" Type="http://schemas.openxmlformats.org/officeDocument/2006/relationships/image" Target="../media/image4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18" Type="http://schemas.openxmlformats.org/officeDocument/2006/relationships/image" Target="../media/image1.emf"/><Relationship Id="rId3" Type="http://schemas.openxmlformats.org/officeDocument/2006/relationships/tags" Target="../tags/tag55.xml"/><Relationship Id="rId21" Type="http://schemas.openxmlformats.org/officeDocument/2006/relationships/image" Target="../media/image52.emf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oleObject" Target="../embeddings/oleObject8.bin"/><Relationship Id="rId2" Type="http://schemas.openxmlformats.org/officeDocument/2006/relationships/tags" Target="../tags/tag54.xml"/><Relationship Id="rId16" Type="http://schemas.openxmlformats.org/officeDocument/2006/relationships/notesSlide" Target="../notesSlides/notesSlide5.xml"/><Relationship Id="rId20" Type="http://schemas.openxmlformats.org/officeDocument/2006/relationships/image" Target="../media/image51.emf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62.xml"/><Relationship Id="rId19" Type="http://schemas.openxmlformats.org/officeDocument/2006/relationships/image" Target="../media/image50.emf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Relationship Id="rId22" Type="http://schemas.openxmlformats.org/officeDocument/2006/relationships/image" Target="../media/image4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btfpColumnIndicatorGroup2">
            <a:extLst>
              <a:ext uri="{FF2B5EF4-FFF2-40B4-BE49-F238E27FC236}">
                <a16:creationId xmlns:a16="http://schemas.microsoft.com/office/drawing/2014/main" id="{60334F73-146C-A587-0860-177A6664BF4A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1" name="btfpColumnGapBlocker480447">
              <a:extLst>
                <a:ext uri="{FF2B5EF4-FFF2-40B4-BE49-F238E27FC236}">
                  <a16:creationId xmlns:a16="http://schemas.microsoft.com/office/drawing/2014/main" id="{8F013C24-F5F2-01B8-447F-B2CFD57F17AA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958947">
              <a:extLst>
                <a:ext uri="{FF2B5EF4-FFF2-40B4-BE49-F238E27FC236}">
                  <a16:creationId xmlns:a16="http://schemas.microsoft.com/office/drawing/2014/main" id="{4FC8D164-B8AF-B47D-B898-ADE45C9DEEFA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611185">
              <a:extLst>
                <a:ext uri="{FF2B5EF4-FFF2-40B4-BE49-F238E27FC236}">
                  <a16:creationId xmlns:a16="http://schemas.microsoft.com/office/drawing/2014/main" id="{08E62305-AFC0-2DC8-4FBF-B24DD17D19CF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708740">
              <a:extLst>
                <a:ext uri="{FF2B5EF4-FFF2-40B4-BE49-F238E27FC236}">
                  <a16:creationId xmlns:a16="http://schemas.microsoft.com/office/drawing/2014/main" id="{BB6F7450-2247-B4A8-5267-D390F095E0B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btfpColumnIndicatorGroup1">
            <a:extLst>
              <a:ext uri="{FF2B5EF4-FFF2-40B4-BE49-F238E27FC236}">
                <a16:creationId xmlns:a16="http://schemas.microsoft.com/office/drawing/2014/main" id="{55701676-85FF-7719-72BA-EB664CD75E2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0" name="btfpColumnGapBlocker811248">
              <a:extLst>
                <a:ext uri="{FF2B5EF4-FFF2-40B4-BE49-F238E27FC236}">
                  <a16:creationId xmlns:a16="http://schemas.microsoft.com/office/drawing/2014/main" id="{3E8CCDF1-DED2-47F2-0A5F-47B0EB07783B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238598">
              <a:extLst>
                <a:ext uri="{FF2B5EF4-FFF2-40B4-BE49-F238E27FC236}">
                  <a16:creationId xmlns:a16="http://schemas.microsoft.com/office/drawing/2014/main" id="{95BAF6A6-E5C7-43D6-86D0-F5E30FE27D96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580054">
              <a:extLst>
                <a:ext uri="{FF2B5EF4-FFF2-40B4-BE49-F238E27FC236}">
                  <a16:creationId xmlns:a16="http://schemas.microsoft.com/office/drawing/2014/main" id="{D7B075F5-D682-4204-9845-F4B4A0633C8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621497">
              <a:extLst>
                <a:ext uri="{FF2B5EF4-FFF2-40B4-BE49-F238E27FC236}">
                  <a16:creationId xmlns:a16="http://schemas.microsoft.com/office/drawing/2014/main" id="{4F27F2A2-5048-4787-F15A-E75573D4CFC3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20B36EA-A7FC-DE1C-B24A-EF2BF6BE69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2713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0B36EA-A7FC-DE1C-B24A-EF2BF6BE69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BD7D053-33B8-42F5-A1D9-DB27B4FBC2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Digital Deck 4 – Social Media &amp; Influencer Marketing</a:t>
            </a:r>
          </a:p>
        </p:txBody>
      </p:sp>
      <p:sp>
        <p:nvSpPr>
          <p:cNvPr id="18" name="AutoShape 16">
            <a:extLst>
              <a:ext uri="{FF2B5EF4-FFF2-40B4-BE49-F238E27FC236}">
                <a16:creationId xmlns:a16="http://schemas.microsoft.com/office/drawing/2014/main" id="{3FCACF1B-91E4-431B-A1A2-99BC5D3DA9F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79932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BA80DD0-1A0E-490A-8692-012F5A8E63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2087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92" imgH="595" progId="TCLayout.ActiveDocument.1">
                  <p:embed/>
                </p:oleObj>
              </mc:Choice>
              <mc:Fallback>
                <p:oleObj name="think-cell Slide" r:id="rId13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A80DD0-1A0E-490A-8692-012F5A8E6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6" name="btfpColumnIndicatorGroup2">
            <a:extLst>
              <a:ext uri="{FF2B5EF4-FFF2-40B4-BE49-F238E27FC236}">
                <a16:creationId xmlns:a16="http://schemas.microsoft.com/office/drawing/2014/main" id="{B57AC39F-8421-4479-8EC8-E266941F5AFD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3" name="btfpColumnGapBlocker151186">
              <a:extLst>
                <a:ext uri="{FF2B5EF4-FFF2-40B4-BE49-F238E27FC236}">
                  <a16:creationId xmlns:a16="http://schemas.microsoft.com/office/drawing/2014/main" id="{D2A2B424-A8CB-47FC-8440-9B3C2B586B8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1" name="btfpColumnGapBlocker942229">
              <a:extLst>
                <a:ext uri="{FF2B5EF4-FFF2-40B4-BE49-F238E27FC236}">
                  <a16:creationId xmlns:a16="http://schemas.microsoft.com/office/drawing/2014/main" id="{3238A90C-2C90-47B2-A9D1-85CA4CE3572C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9" name="btfpColumnIndicator768938">
              <a:extLst>
                <a:ext uri="{FF2B5EF4-FFF2-40B4-BE49-F238E27FC236}">
                  <a16:creationId xmlns:a16="http://schemas.microsoft.com/office/drawing/2014/main" id="{7B284A95-C54D-468F-8C0E-D1653CEC8BE9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btfpColumnIndicator916224">
              <a:extLst>
                <a:ext uri="{FF2B5EF4-FFF2-40B4-BE49-F238E27FC236}">
                  <a16:creationId xmlns:a16="http://schemas.microsoft.com/office/drawing/2014/main" id="{ED6C0D25-5ED9-4A3B-894B-7C35F113980D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btfpColumnGapBlocker464640">
              <a:extLst>
                <a:ext uri="{FF2B5EF4-FFF2-40B4-BE49-F238E27FC236}">
                  <a16:creationId xmlns:a16="http://schemas.microsoft.com/office/drawing/2014/main" id="{4B91F029-1878-498C-971E-8DEE98F90CEF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3" name="btfpColumnIndicator187284">
              <a:extLst>
                <a:ext uri="{FF2B5EF4-FFF2-40B4-BE49-F238E27FC236}">
                  <a16:creationId xmlns:a16="http://schemas.microsoft.com/office/drawing/2014/main" id="{EEFEEB8A-1B15-47CC-BA6B-36AA8AF230A6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827773">
              <a:extLst>
                <a:ext uri="{FF2B5EF4-FFF2-40B4-BE49-F238E27FC236}">
                  <a16:creationId xmlns:a16="http://schemas.microsoft.com/office/drawing/2014/main" id="{5B818F88-C7F5-4F93-9413-D53A6429CD08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btfpColumnIndicatorGroup1">
            <a:extLst>
              <a:ext uri="{FF2B5EF4-FFF2-40B4-BE49-F238E27FC236}">
                <a16:creationId xmlns:a16="http://schemas.microsoft.com/office/drawing/2014/main" id="{A8612F74-D8F9-45D9-9D10-A8B6C5111E47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2" name="btfpColumnGapBlocker400274">
              <a:extLst>
                <a:ext uri="{FF2B5EF4-FFF2-40B4-BE49-F238E27FC236}">
                  <a16:creationId xmlns:a16="http://schemas.microsoft.com/office/drawing/2014/main" id="{075B68EC-DBCA-4099-9389-513F676886D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0" name="btfpColumnGapBlocker198024">
              <a:extLst>
                <a:ext uri="{FF2B5EF4-FFF2-40B4-BE49-F238E27FC236}">
                  <a16:creationId xmlns:a16="http://schemas.microsoft.com/office/drawing/2014/main" id="{47DE58F1-3C18-4937-97BF-DA6EF89F7508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8" name="btfpColumnIndicator642087">
              <a:extLst>
                <a:ext uri="{FF2B5EF4-FFF2-40B4-BE49-F238E27FC236}">
                  <a16:creationId xmlns:a16="http://schemas.microsoft.com/office/drawing/2014/main" id="{AB53A3F3-6504-46E2-A921-862E9E5249D1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btfpColumnIndicator796396">
              <a:extLst>
                <a:ext uri="{FF2B5EF4-FFF2-40B4-BE49-F238E27FC236}">
                  <a16:creationId xmlns:a16="http://schemas.microsoft.com/office/drawing/2014/main" id="{5B0BD94F-FC99-4B1B-858F-03DD3EA2737D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btfpColumnGapBlocker164694">
              <a:extLst>
                <a:ext uri="{FF2B5EF4-FFF2-40B4-BE49-F238E27FC236}">
                  <a16:creationId xmlns:a16="http://schemas.microsoft.com/office/drawing/2014/main" id="{3B98C8C5-C272-43A5-BFFA-C009C49093CA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2" name="btfpColumnIndicator528143">
              <a:extLst>
                <a:ext uri="{FF2B5EF4-FFF2-40B4-BE49-F238E27FC236}">
                  <a16:creationId xmlns:a16="http://schemas.microsoft.com/office/drawing/2014/main" id="{62E52431-DF09-47F8-8944-F338734C810B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316540">
              <a:extLst>
                <a:ext uri="{FF2B5EF4-FFF2-40B4-BE49-F238E27FC236}">
                  <a16:creationId xmlns:a16="http://schemas.microsoft.com/office/drawing/2014/main" id="{56EE42A2-2C27-4FD5-981D-BC8B414D582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ainBulletsConfiguration" hidden="1"/>
          <p:cNvSpPr txBox="1"/>
          <p:nvPr/>
        </p:nvSpPr>
        <p:spPr>
          <a:xfrm>
            <a:off x="2719305" y="847731"/>
            <a:ext cx="6186650" cy="107722"/>
          </a:xfrm>
          <a:prstGeom prst="rect">
            <a:avLst/>
          </a:prstGeom>
          <a:noFill/>
        </p:spPr>
        <p:txBody>
          <a:bodyPr vert="horz" wrap="square" lIns="31818" rIns="31818" rtlCol="0">
            <a:spAutoFit/>
          </a:bodyPr>
          <a:lstStyle/>
          <a:p>
            <a:r>
              <a:rPr lang="en-US" sz="100">
                <a:solidFill>
                  <a:srgbClr val="FFFFFF"/>
                </a:solidFill>
              </a:rPr>
              <a:t>25_84 5_84 65_84 66_84 67_84 68_84 69_84 70_84 71_84 72_84 73_84 74_84 58_84 76_84</a:t>
            </a:r>
          </a:p>
        </p:txBody>
      </p:sp>
      <p:sp>
        <p:nvSpPr>
          <p:cNvPr id="2" name="btfpLayoutConfig" hidden="1"/>
          <p:cNvSpPr txBox="1"/>
          <p:nvPr/>
        </p:nvSpPr>
        <p:spPr bwMode="gray">
          <a:xfrm>
            <a:off x="1153320" y="653256"/>
            <a:ext cx="1774284" cy="74460"/>
          </a:xfrm>
          <a:prstGeom prst="rect">
            <a:avLst/>
          </a:prstGeom>
          <a:noFill/>
        </p:spPr>
        <p:txBody>
          <a:bodyPr vert="horz" wrap="none" lIns="29250" tIns="29250" rIns="29250" bIns="2925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163348573585461 columns_1_131720850809173776 56_1_131943516557675237 58_1_132071467640101448 12_0_132156153700703527 39_0_132163348565702811 18_1_132392033990359561 11_1_132428431922747730 14_1_132392033898413052 21_1_132392040552860132 26_1_132392040586007368 </a:t>
            </a: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/>
              <a:t>Own Social Media:</a:t>
            </a:r>
            <a:r>
              <a:rPr lang="en-US" dirty="0"/>
              <a:t> On Instagram, Target has a healthy audience-base; scope to improve posting frequency and reach on other platforms</a:t>
            </a:r>
          </a:p>
        </p:txBody>
      </p:sp>
      <p:pic>
        <p:nvPicPr>
          <p:cNvPr id="42" name="btfpIconLines155624">
            <a:extLst>
              <a:ext uri="{FF2B5EF4-FFF2-40B4-BE49-F238E27FC236}">
                <a16:creationId xmlns:a16="http://schemas.microsoft.com/office/drawing/2014/main" id="{9A7C7F02-B4B2-4EE2-A36B-665B4F294605}"/>
              </a:ext>
            </a:extLst>
          </p:cNvPr>
          <p:cNvPicPr>
            <a:picLocks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0006" y="1791136"/>
            <a:ext cx="391380" cy="391380"/>
          </a:xfrm>
          <a:prstGeom prst="rect">
            <a:avLst/>
          </a:prstGeom>
        </p:spPr>
      </p:pic>
      <p:pic>
        <p:nvPicPr>
          <p:cNvPr id="40" name="btfpIconLines155624">
            <a:extLst>
              <a:ext uri="{FF2B5EF4-FFF2-40B4-BE49-F238E27FC236}">
                <a16:creationId xmlns:a16="http://schemas.microsoft.com/office/drawing/2014/main" id="{9DF2FB50-0287-4B4E-BA75-A61ED3EF6B68}"/>
              </a:ext>
            </a:extLst>
          </p:cNvPr>
          <p:cNvPicPr>
            <a:picLocks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9800" y="1238178"/>
            <a:ext cx="391380" cy="391380"/>
          </a:xfrm>
          <a:prstGeom prst="rect">
            <a:avLst/>
          </a:prstGeom>
        </p:spPr>
      </p:pic>
      <p:grpSp>
        <p:nvGrpSpPr>
          <p:cNvPr id="68" name="btfpRunningAgenda2Level462810">
            <a:extLst>
              <a:ext uri="{FF2B5EF4-FFF2-40B4-BE49-F238E27FC236}">
                <a16:creationId xmlns:a16="http://schemas.microsoft.com/office/drawing/2014/main" id="{77A5B1FB-99DD-462B-92B2-B4F2F8D4942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0" y="920754"/>
            <a:ext cx="2592725" cy="257442"/>
            <a:chOff x="0" y="876300"/>
            <a:chExt cx="2592725" cy="257442"/>
          </a:xfrm>
        </p:grpSpPr>
        <p:sp>
          <p:nvSpPr>
            <p:cNvPr id="69" name="btfpRunningAgenda2LevelBarLeft462810">
              <a:extLst>
                <a:ext uri="{FF2B5EF4-FFF2-40B4-BE49-F238E27FC236}">
                  <a16:creationId xmlns:a16="http://schemas.microsoft.com/office/drawing/2014/main" id="{302599CB-B14C-419D-9F4C-B3092D5220B5}"/>
                </a:ext>
              </a:extLst>
            </p:cNvPr>
            <p:cNvSpPr/>
            <p:nvPr/>
          </p:nvSpPr>
          <p:spPr bwMode="gray">
            <a:xfrm>
              <a:off x="1" y="876300"/>
              <a:ext cx="2592724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0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0 w 1457350"/>
                <a:gd name="connsiteY3" fmla="*/ 0 h 257442"/>
                <a:gd name="connsiteX0" fmla="*/ 2093550 w 2093550"/>
                <a:gd name="connsiteY0" fmla="*/ 0 h 257442"/>
                <a:gd name="connsiteX1" fmla="*/ 1402629 w 2093550"/>
                <a:gd name="connsiteY1" fmla="*/ 257442 h 257442"/>
                <a:gd name="connsiteX2" fmla="*/ 0 w 2093550"/>
                <a:gd name="connsiteY2" fmla="*/ 257442 h 257442"/>
                <a:gd name="connsiteX3" fmla="*/ 0 w 2093550"/>
                <a:gd name="connsiteY3" fmla="*/ 0 h 257442"/>
                <a:gd name="connsiteX0" fmla="*/ 2093550 w 2093550"/>
                <a:gd name="connsiteY0" fmla="*/ 0 h 257442"/>
                <a:gd name="connsiteX1" fmla="*/ 2038829 w 2093550"/>
                <a:gd name="connsiteY1" fmla="*/ 257442 h 257442"/>
                <a:gd name="connsiteX2" fmla="*/ 0 w 2093550"/>
                <a:gd name="connsiteY2" fmla="*/ 257442 h 257442"/>
                <a:gd name="connsiteX3" fmla="*/ 0 w 2093550"/>
                <a:gd name="connsiteY3" fmla="*/ 0 h 257442"/>
                <a:gd name="connsiteX0" fmla="*/ 2093550 w 2093550"/>
                <a:gd name="connsiteY0" fmla="*/ 0 h 257442"/>
                <a:gd name="connsiteX1" fmla="*/ 2038829 w 2093550"/>
                <a:gd name="connsiteY1" fmla="*/ 257442 h 257442"/>
                <a:gd name="connsiteX2" fmla="*/ 0 w 2093550"/>
                <a:gd name="connsiteY2" fmla="*/ 257442 h 257442"/>
                <a:gd name="connsiteX3" fmla="*/ 0 w 2093550"/>
                <a:gd name="connsiteY3" fmla="*/ 0 h 257442"/>
                <a:gd name="connsiteX0" fmla="*/ 2093550 w 2093550"/>
                <a:gd name="connsiteY0" fmla="*/ 0 h 257442"/>
                <a:gd name="connsiteX1" fmla="*/ 2038829 w 2093550"/>
                <a:gd name="connsiteY1" fmla="*/ 257442 h 257442"/>
                <a:gd name="connsiteX2" fmla="*/ 0 w 2093550"/>
                <a:gd name="connsiteY2" fmla="*/ 257442 h 257442"/>
                <a:gd name="connsiteX3" fmla="*/ 0 w 2093550"/>
                <a:gd name="connsiteY3" fmla="*/ 0 h 257442"/>
                <a:gd name="connsiteX0" fmla="*/ 2233203 w 2233203"/>
                <a:gd name="connsiteY0" fmla="*/ 0 h 257442"/>
                <a:gd name="connsiteX1" fmla="*/ 2038829 w 2233203"/>
                <a:gd name="connsiteY1" fmla="*/ 257442 h 257442"/>
                <a:gd name="connsiteX2" fmla="*/ 0 w 2233203"/>
                <a:gd name="connsiteY2" fmla="*/ 257442 h 257442"/>
                <a:gd name="connsiteX3" fmla="*/ 0 w 2233203"/>
                <a:gd name="connsiteY3" fmla="*/ 0 h 257442"/>
                <a:gd name="connsiteX0" fmla="*/ 2233203 w 2233203"/>
                <a:gd name="connsiteY0" fmla="*/ 0 h 257442"/>
                <a:gd name="connsiteX1" fmla="*/ 2178482 w 2233203"/>
                <a:gd name="connsiteY1" fmla="*/ 257442 h 257442"/>
                <a:gd name="connsiteX2" fmla="*/ 0 w 2233203"/>
                <a:gd name="connsiteY2" fmla="*/ 257442 h 257442"/>
                <a:gd name="connsiteX3" fmla="*/ 0 w 2233203"/>
                <a:gd name="connsiteY3" fmla="*/ 0 h 257442"/>
                <a:gd name="connsiteX0" fmla="*/ 2233203 w 2233203"/>
                <a:gd name="connsiteY0" fmla="*/ 0 h 257442"/>
                <a:gd name="connsiteX1" fmla="*/ 2178482 w 2233203"/>
                <a:gd name="connsiteY1" fmla="*/ 257442 h 257442"/>
                <a:gd name="connsiteX2" fmla="*/ 0 w 2233203"/>
                <a:gd name="connsiteY2" fmla="*/ 257442 h 257442"/>
                <a:gd name="connsiteX3" fmla="*/ 0 w 2233203"/>
                <a:gd name="connsiteY3" fmla="*/ 0 h 257442"/>
                <a:gd name="connsiteX0" fmla="*/ 2233203 w 2233203"/>
                <a:gd name="connsiteY0" fmla="*/ 0 h 257442"/>
                <a:gd name="connsiteX1" fmla="*/ 2178482 w 2233203"/>
                <a:gd name="connsiteY1" fmla="*/ 257442 h 257442"/>
                <a:gd name="connsiteX2" fmla="*/ 0 w 2233203"/>
                <a:gd name="connsiteY2" fmla="*/ 257442 h 257442"/>
                <a:gd name="connsiteX3" fmla="*/ 0 w 2233203"/>
                <a:gd name="connsiteY3" fmla="*/ 0 h 257442"/>
                <a:gd name="connsiteX0" fmla="*/ 3401216 w 3401216"/>
                <a:gd name="connsiteY0" fmla="*/ 0 h 257442"/>
                <a:gd name="connsiteX1" fmla="*/ 2178482 w 3401216"/>
                <a:gd name="connsiteY1" fmla="*/ 257442 h 257442"/>
                <a:gd name="connsiteX2" fmla="*/ 0 w 3401216"/>
                <a:gd name="connsiteY2" fmla="*/ 257442 h 257442"/>
                <a:gd name="connsiteX3" fmla="*/ 0 w 3401216"/>
                <a:gd name="connsiteY3" fmla="*/ 0 h 257442"/>
                <a:gd name="connsiteX0" fmla="*/ 3401216 w 3401216"/>
                <a:gd name="connsiteY0" fmla="*/ 0 h 257442"/>
                <a:gd name="connsiteX1" fmla="*/ 3346494 w 3401216"/>
                <a:gd name="connsiteY1" fmla="*/ 257442 h 257442"/>
                <a:gd name="connsiteX2" fmla="*/ 0 w 3401216"/>
                <a:gd name="connsiteY2" fmla="*/ 257442 h 257442"/>
                <a:gd name="connsiteX3" fmla="*/ 0 w 3401216"/>
                <a:gd name="connsiteY3" fmla="*/ 0 h 257442"/>
                <a:gd name="connsiteX0" fmla="*/ 3401217 w 3401217"/>
                <a:gd name="connsiteY0" fmla="*/ 0 h 257442"/>
                <a:gd name="connsiteX1" fmla="*/ 3346495 w 3401217"/>
                <a:gd name="connsiteY1" fmla="*/ 257442 h 257442"/>
                <a:gd name="connsiteX2" fmla="*/ 0 w 3401217"/>
                <a:gd name="connsiteY2" fmla="*/ 257442 h 257442"/>
                <a:gd name="connsiteX3" fmla="*/ 1 w 3401217"/>
                <a:gd name="connsiteY3" fmla="*/ 0 h 257442"/>
                <a:gd name="connsiteX0" fmla="*/ 3401217 w 3401217"/>
                <a:gd name="connsiteY0" fmla="*/ 0 h 257442"/>
                <a:gd name="connsiteX1" fmla="*/ 3346495 w 3401217"/>
                <a:gd name="connsiteY1" fmla="*/ 257442 h 257442"/>
                <a:gd name="connsiteX2" fmla="*/ 0 w 3401217"/>
                <a:gd name="connsiteY2" fmla="*/ 257442 h 257442"/>
                <a:gd name="connsiteX3" fmla="*/ 1 w 3401217"/>
                <a:gd name="connsiteY3" fmla="*/ 0 h 257442"/>
                <a:gd name="connsiteX0" fmla="*/ 942787 w 3346495"/>
                <a:gd name="connsiteY0" fmla="*/ 0 h 257442"/>
                <a:gd name="connsiteX1" fmla="*/ 3346495 w 3346495"/>
                <a:gd name="connsiteY1" fmla="*/ 257442 h 257442"/>
                <a:gd name="connsiteX2" fmla="*/ 0 w 3346495"/>
                <a:gd name="connsiteY2" fmla="*/ 257442 h 257442"/>
                <a:gd name="connsiteX3" fmla="*/ 1 w 3346495"/>
                <a:gd name="connsiteY3" fmla="*/ 0 h 257442"/>
                <a:gd name="connsiteX0" fmla="*/ 942787 w 942787"/>
                <a:gd name="connsiteY0" fmla="*/ 0 h 257442"/>
                <a:gd name="connsiteX1" fmla="*/ 888066 w 942787"/>
                <a:gd name="connsiteY1" fmla="*/ 257442 h 257442"/>
                <a:gd name="connsiteX2" fmla="*/ 0 w 942787"/>
                <a:gd name="connsiteY2" fmla="*/ 257442 h 257442"/>
                <a:gd name="connsiteX3" fmla="*/ 1 w 942787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7 w 942787"/>
                <a:gd name="connsiteY0" fmla="*/ 0 h 257442"/>
                <a:gd name="connsiteX1" fmla="*/ 888066 w 942787"/>
                <a:gd name="connsiteY1" fmla="*/ 257442 h 257442"/>
                <a:gd name="connsiteX2" fmla="*/ 1 w 942787"/>
                <a:gd name="connsiteY2" fmla="*/ 257442 h 257442"/>
                <a:gd name="connsiteX3" fmla="*/ 0 w 942787"/>
                <a:gd name="connsiteY3" fmla="*/ 0 h 257442"/>
                <a:gd name="connsiteX0" fmla="*/ 1120720 w 1120720"/>
                <a:gd name="connsiteY0" fmla="*/ 0 h 257442"/>
                <a:gd name="connsiteX1" fmla="*/ 888066 w 1120720"/>
                <a:gd name="connsiteY1" fmla="*/ 257442 h 257442"/>
                <a:gd name="connsiteX2" fmla="*/ 1 w 1120720"/>
                <a:gd name="connsiteY2" fmla="*/ 257442 h 257442"/>
                <a:gd name="connsiteX3" fmla="*/ 0 w 1120720"/>
                <a:gd name="connsiteY3" fmla="*/ 0 h 257442"/>
                <a:gd name="connsiteX0" fmla="*/ 1120720 w 1120720"/>
                <a:gd name="connsiteY0" fmla="*/ 0 h 257442"/>
                <a:gd name="connsiteX1" fmla="*/ 1065998 w 1120720"/>
                <a:gd name="connsiteY1" fmla="*/ 257442 h 257442"/>
                <a:gd name="connsiteX2" fmla="*/ 1 w 1120720"/>
                <a:gd name="connsiteY2" fmla="*/ 257442 h 257442"/>
                <a:gd name="connsiteX3" fmla="*/ 0 w 1120720"/>
                <a:gd name="connsiteY3" fmla="*/ 0 h 257442"/>
                <a:gd name="connsiteX0" fmla="*/ 1120720 w 1120720"/>
                <a:gd name="connsiteY0" fmla="*/ 0 h 257442"/>
                <a:gd name="connsiteX1" fmla="*/ 1065998 w 1120720"/>
                <a:gd name="connsiteY1" fmla="*/ 257442 h 257442"/>
                <a:gd name="connsiteX2" fmla="*/ 0 w 1120720"/>
                <a:gd name="connsiteY2" fmla="*/ 257442 h 257442"/>
                <a:gd name="connsiteX3" fmla="*/ 0 w 1120720"/>
                <a:gd name="connsiteY3" fmla="*/ 0 h 257442"/>
                <a:gd name="connsiteX0" fmla="*/ 1120720 w 1120720"/>
                <a:gd name="connsiteY0" fmla="*/ 0 h 257442"/>
                <a:gd name="connsiteX1" fmla="*/ 1065998 w 1120720"/>
                <a:gd name="connsiteY1" fmla="*/ 257442 h 257442"/>
                <a:gd name="connsiteX2" fmla="*/ 0 w 1120720"/>
                <a:gd name="connsiteY2" fmla="*/ 257442 h 257442"/>
                <a:gd name="connsiteX3" fmla="*/ 0 w 1120720"/>
                <a:gd name="connsiteY3" fmla="*/ 0 h 257442"/>
                <a:gd name="connsiteX0" fmla="*/ 1289034 w 1289034"/>
                <a:gd name="connsiteY0" fmla="*/ 0 h 257442"/>
                <a:gd name="connsiteX1" fmla="*/ 1065998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3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3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3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390024 w 1390024"/>
                <a:gd name="connsiteY0" fmla="*/ 0 h 257442"/>
                <a:gd name="connsiteX1" fmla="*/ 1234313 w 1390024"/>
                <a:gd name="connsiteY1" fmla="*/ 257442 h 257442"/>
                <a:gd name="connsiteX2" fmla="*/ 0 w 1390024"/>
                <a:gd name="connsiteY2" fmla="*/ 257442 h 257442"/>
                <a:gd name="connsiteX3" fmla="*/ 0 w 1390024"/>
                <a:gd name="connsiteY3" fmla="*/ 0 h 257442"/>
                <a:gd name="connsiteX0" fmla="*/ 1390024 w 1390024"/>
                <a:gd name="connsiteY0" fmla="*/ 0 h 257442"/>
                <a:gd name="connsiteX1" fmla="*/ 1335303 w 1390024"/>
                <a:gd name="connsiteY1" fmla="*/ 257442 h 257442"/>
                <a:gd name="connsiteX2" fmla="*/ 0 w 1390024"/>
                <a:gd name="connsiteY2" fmla="*/ 257442 h 257442"/>
                <a:gd name="connsiteX3" fmla="*/ 0 w 1390024"/>
                <a:gd name="connsiteY3" fmla="*/ 0 h 257442"/>
                <a:gd name="connsiteX0" fmla="*/ 1390024 w 1390024"/>
                <a:gd name="connsiteY0" fmla="*/ 0 h 257442"/>
                <a:gd name="connsiteX1" fmla="*/ 1335303 w 1390024"/>
                <a:gd name="connsiteY1" fmla="*/ 257442 h 257442"/>
                <a:gd name="connsiteX2" fmla="*/ 0 w 1390024"/>
                <a:gd name="connsiteY2" fmla="*/ 257442 h 257442"/>
                <a:gd name="connsiteX3" fmla="*/ 0 w 1390024"/>
                <a:gd name="connsiteY3" fmla="*/ 0 h 257442"/>
                <a:gd name="connsiteX0" fmla="*/ 1390024 w 1390024"/>
                <a:gd name="connsiteY0" fmla="*/ 0 h 257442"/>
                <a:gd name="connsiteX1" fmla="*/ 1335303 w 1390024"/>
                <a:gd name="connsiteY1" fmla="*/ 257442 h 257442"/>
                <a:gd name="connsiteX2" fmla="*/ 0 w 1390024"/>
                <a:gd name="connsiteY2" fmla="*/ 257442 h 257442"/>
                <a:gd name="connsiteX3" fmla="*/ 0 w 1390024"/>
                <a:gd name="connsiteY3" fmla="*/ 0 h 257442"/>
                <a:gd name="connsiteX0" fmla="*/ 1558339 w 1558339"/>
                <a:gd name="connsiteY0" fmla="*/ 0 h 257442"/>
                <a:gd name="connsiteX1" fmla="*/ 1335303 w 1558339"/>
                <a:gd name="connsiteY1" fmla="*/ 257442 h 257442"/>
                <a:gd name="connsiteX2" fmla="*/ 0 w 1558339"/>
                <a:gd name="connsiteY2" fmla="*/ 257442 h 257442"/>
                <a:gd name="connsiteX3" fmla="*/ 0 w 1558339"/>
                <a:gd name="connsiteY3" fmla="*/ 0 h 257442"/>
                <a:gd name="connsiteX0" fmla="*/ 1558339 w 1558339"/>
                <a:gd name="connsiteY0" fmla="*/ 0 h 257442"/>
                <a:gd name="connsiteX1" fmla="*/ 1503618 w 1558339"/>
                <a:gd name="connsiteY1" fmla="*/ 257442 h 257442"/>
                <a:gd name="connsiteX2" fmla="*/ 0 w 1558339"/>
                <a:gd name="connsiteY2" fmla="*/ 257442 h 257442"/>
                <a:gd name="connsiteX3" fmla="*/ 0 w 1558339"/>
                <a:gd name="connsiteY3" fmla="*/ 0 h 257442"/>
                <a:gd name="connsiteX0" fmla="*/ 1558339 w 1558339"/>
                <a:gd name="connsiteY0" fmla="*/ 0 h 257442"/>
                <a:gd name="connsiteX1" fmla="*/ 1503618 w 1558339"/>
                <a:gd name="connsiteY1" fmla="*/ 257442 h 257442"/>
                <a:gd name="connsiteX2" fmla="*/ 0 w 1558339"/>
                <a:gd name="connsiteY2" fmla="*/ 257442 h 257442"/>
                <a:gd name="connsiteX3" fmla="*/ 0 w 1558339"/>
                <a:gd name="connsiteY3" fmla="*/ 0 h 257442"/>
                <a:gd name="connsiteX0" fmla="*/ 1558339 w 1558339"/>
                <a:gd name="connsiteY0" fmla="*/ 0 h 257442"/>
                <a:gd name="connsiteX1" fmla="*/ 1503618 w 1558339"/>
                <a:gd name="connsiteY1" fmla="*/ 257442 h 257442"/>
                <a:gd name="connsiteX2" fmla="*/ 0 w 1558339"/>
                <a:gd name="connsiteY2" fmla="*/ 257442 h 257442"/>
                <a:gd name="connsiteX3" fmla="*/ 0 w 1558339"/>
                <a:gd name="connsiteY3" fmla="*/ 0 h 257442"/>
                <a:gd name="connsiteX0" fmla="*/ 1710625 w 1710625"/>
                <a:gd name="connsiteY0" fmla="*/ 0 h 257442"/>
                <a:gd name="connsiteX1" fmla="*/ 1503618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808857 w 1808857"/>
                <a:gd name="connsiteY0" fmla="*/ 0 h 257442"/>
                <a:gd name="connsiteX1" fmla="*/ 1655904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994805 w 1994805"/>
                <a:gd name="connsiteY0" fmla="*/ 0 h 257442"/>
                <a:gd name="connsiteX1" fmla="*/ 1754136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2155105 w 2155105"/>
                <a:gd name="connsiteY0" fmla="*/ 0 h 257442"/>
                <a:gd name="connsiteX1" fmla="*/ 19400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323420 w 2323420"/>
                <a:gd name="connsiteY0" fmla="*/ 0 h 257442"/>
                <a:gd name="connsiteX1" fmla="*/ 2100384 w 2323420"/>
                <a:gd name="connsiteY1" fmla="*/ 257442 h 257442"/>
                <a:gd name="connsiteX2" fmla="*/ 0 w 2323420"/>
                <a:gd name="connsiteY2" fmla="*/ 257442 h 257442"/>
                <a:gd name="connsiteX3" fmla="*/ 0 w 2323420"/>
                <a:gd name="connsiteY3" fmla="*/ 0 h 257442"/>
                <a:gd name="connsiteX0" fmla="*/ 2323420 w 2323420"/>
                <a:gd name="connsiteY0" fmla="*/ 0 h 257442"/>
                <a:gd name="connsiteX1" fmla="*/ 2268698 w 2323420"/>
                <a:gd name="connsiteY1" fmla="*/ 257442 h 257442"/>
                <a:gd name="connsiteX2" fmla="*/ 0 w 2323420"/>
                <a:gd name="connsiteY2" fmla="*/ 257442 h 257442"/>
                <a:gd name="connsiteX3" fmla="*/ 0 w 2323420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1 w 2323421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1 w 2323421"/>
                <a:gd name="connsiteY3" fmla="*/ 0 h 257442"/>
                <a:gd name="connsiteX0" fmla="*/ 2424411 w 2424411"/>
                <a:gd name="connsiteY0" fmla="*/ 0 h 257442"/>
                <a:gd name="connsiteX1" fmla="*/ 2268699 w 2424411"/>
                <a:gd name="connsiteY1" fmla="*/ 257442 h 257442"/>
                <a:gd name="connsiteX2" fmla="*/ 0 w 2424411"/>
                <a:gd name="connsiteY2" fmla="*/ 257442 h 257442"/>
                <a:gd name="connsiteX3" fmla="*/ 1 w 2424411"/>
                <a:gd name="connsiteY3" fmla="*/ 0 h 257442"/>
                <a:gd name="connsiteX0" fmla="*/ 2424411 w 2424411"/>
                <a:gd name="connsiteY0" fmla="*/ 0 h 257442"/>
                <a:gd name="connsiteX1" fmla="*/ 2369690 w 2424411"/>
                <a:gd name="connsiteY1" fmla="*/ 257442 h 257442"/>
                <a:gd name="connsiteX2" fmla="*/ 0 w 2424411"/>
                <a:gd name="connsiteY2" fmla="*/ 257442 h 257442"/>
                <a:gd name="connsiteX3" fmla="*/ 1 w 2424411"/>
                <a:gd name="connsiteY3" fmla="*/ 0 h 257442"/>
                <a:gd name="connsiteX0" fmla="*/ 2424410 w 2424410"/>
                <a:gd name="connsiteY0" fmla="*/ 0 h 257442"/>
                <a:gd name="connsiteX1" fmla="*/ 2369689 w 2424410"/>
                <a:gd name="connsiteY1" fmla="*/ 257442 h 257442"/>
                <a:gd name="connsiteX2" fmla="*/ 0 w 2424410"/>
                <a:gd name="connsiteY2" fmla="*/ 257442 h 257442"/>
                <a:gd name="connsiteX3" fmla="*/ 0 w 2424410"/>
                <a:gd name="connsiteY3" fmla="*/ 0 h 257442"/>
                <a:gd name="connsiteX0" fmla="*/ 2424411 w 2424411"/>
                <a:gd name="connsiteY0" fmla="*/ 0 h 257442"/>
                <a:gd name="connsiteX1" fmla="*/ 2369690 w 2424411"/>
                <a:gd name="connsiteY1" fmla="*/ 257442 h 257442"/>
                <a:gd name="connsiteX2" fmla="*/ 1 w 2424411"/>
                <a:gd name="connsiteY2" fmla="*/ 257442 h 257442"/>
                <a:gd name="connsiteX3" fmla="*/ 0 w 2424411"/>
                <a:gd name="connsiteY3" fmla="*/ 0 h 257442"/>
                <a:gd name="connsiteX0" fmla="*/ 2592725 w 2592725"/>
                <a:gd name="connsiteY0" fmla="*/ 0 h 257442"/>
                <a:gd name="connsiteX1" fmla="*/ 2369690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4 w 2592724"/>
                <a:gd name="connsiteY0" fmla="*/ 0 h 257442"/>
                <a:gd name="connsiteX1" fmla="*/ 2538003 w 2592724"/>
                <a:gd name="connsiteY1" fmla="*/ 257442 h 257442"/>
                <a:gd name="connsiteX2" fmla="*/ 0 w 2592724"/>
                <a:gd name="connsiteY2" fmla="*/ 257442 h 257442"/>
                <a:gd name="connsiteX3" fmla="*/ 0 w 259272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92724" h="257442">
                  <a:moveTo>
                    <a:pt x="2592724" y="0"/>
                  </a:moveTo>
                  <a:lnTo>
                    <a:pt x="2538003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71" name="btfpRunningAgenda2LevelTextLeft462810">
              <a:extLst>
                <a:ext uri="{FF2B5EF4-FFF2-40B4-BE49-F238E27FC236}">
                  <a16:creationId xmlns:a16="http://schemas.microsoft.com/office/drawing/2014/main" id="{102A8268-F3FC-43AD-AEA3-F1BE8A338A25}"/>
                </a:ext>
              </a:extLst>
            </p:cNvPr>
            <p:cNvSpPr txBox="1"/>
            <p:nvPr/>
          </p:nvSpPr>
          <p:spPr bwMode="gray">
            <a:xfrm>
              <a:off x="0" y="876300"/>
              <a:ext cx="2538003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Social media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53489AA2-4DFE-3EDF-FC64-9D858BAD049F}"/>
              </a:ext>
            </a:extLst>
          </p:cNvPr>
          <p:cNvGrpSpPr/>
          <p:nvPr/>
        </p:nvGrpSpPr>
        <p:grpSpPr>
          <a:xfrm>
            <a:off x="372428" y="1730987"/>
            <a:ext cx="1109953" cy="4589531"/>
            <a:chOff x="372428" y="1730987"/>
            <a:chExt cx="1109953" cy="4589531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BA19CB5F-48BE-0B71-9085-4426DEDB6946}"/>
                </a:ext>
              </a:extLst>
            </p:cNvPr>
            <p:cNvGrpSpPr/>
            <p:nvPr/>
          </p:nvGrpSpPr>
          <p:grpSpPr>
            <a:xfrm>
              <a:off x="372428" y="1730987"/>
              <a:ext cx="1109953" cy="4589531"/>
              <a:chOff x="372428" y="1730987"/>
              <a:chExt cx="1109953" cy="4589531"/>
            </a:xfrm>
          </p:grpSpPr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DD734711-8A50-FFAC-2980-AB99790AB6E8}"/>
                  </a:ext>
                </a:extLst>
              </p:cNvPr>
              <p:cNvGrpSpPr/>
              <p:nvPr>
                <p:custDataLst>
                  <p:tags r:id="rId5"/>
                </p:custDataLst>
              </p:nvPr>
            </p:nvGrpSpPr>
            <p:grpSpPr>
              <a:xfrm>
                <a:off x="372428" y="1730987"/>
                <a:ext cx="1109953" cy="3674238"/>
                <a:chOff x="1712226" y="1904961"/>
                <a:chExt cx="980424" cy="3334234"/>
              </a:xfrm>
            </p:grpSpPr>
            <p:sp>
              <p:nvSpPr>
                <p:cNvPr id="43" name="TextBox 42">
                  <a:extLst>
                    <a:ext uri="{FF2B5EF4-FFF2-40B4-BE49-F238E27FC236}">
                      <a16:creationId xmlns:a16="http://schemas.microsoft.com/office/drawing/2014/main" id="{804F8162-E94C-B0B3-0C64-316EA8CBB87C}"/>
                    </a:ext>
                  </a:extLst>
                </p:cNvPr>
                <p:cNvSpPr txBox="1"/>
                <p:nvPr>
                  <p:custDataLst>
                    <p:tags r:id="rId7"/>
                  </p:custDataLst>
                </p:nvPr>
              </p:nvSpPr>
              <p:spPr>
                <a:xfrm>
                  <a:off x="1712226" y="3571498"/>
                  <a:ext cx="980418" cy="841207"/>
                </a:xfrm>
                <a:prstGeom prst="rect">
                  <a:avLst/>
                </a:prstGeom>
                <a:solidFill>
                  <a:srgbClr val="FFFFFF"/>
                </a:solidFill>
                <a:ln w="190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wrap="square" lIns="25818" tIns="25818" rIns="25818" bIns="25818" rtlCol="0" anchor="ctr">
                  <a:noAutofit/>
                </a:bodyPr>
                <a:lstStyle/>
                <a:p>
                  <a:pPr marL="0" indent="0" algn="ctr" defTabSz="703847" fontAlgn="ctr">
                    <a:spcBef>
                      <a:spcPts val="619"/>
                    </a:spcBef>
                    <a:buSzPct val="100000"/>
                    <a:buNone/>
                  </a:pPr>
                  <a:endParaRPr lang="en-US" sz="1363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5" name="TextBox 44">
                  <a:extLst>
                    <a:ext uri="{FF2B5EF4-FFF2-40B4-BE49-F238E27FC236}">
                      <a16:creationId xmlns:a16="http://schemas.microsoft.com/office/drawing/2014/main" id="{A9E27339-313E-92F6-D35E-DFC7213C58DB}"/>
                    </a:ext>
                  </a:extLst>
                </p:cNvPr>
                <p:cNvSpPr txBox="1"/>
                <p:nvPr>
                  <p:custDataLst>
                    <p:tags r:id="rId8"/>
                  </p:custDataLst>
                </p:nvPr>
              </p:nvSpPr>
              <p:spPr>
                <a:xfrm>
                  <a:off x="1712226" y="1904961"/>
                  <a:ext cx="980418" cy="866534"/>
                </a:xfrm>
                <a:prstGeom prst="rect">
                  <a:avLst/>
                </a:prstGeom>
                <a:solidFill>
                  <a:srgbClr val="FFFFFF"/>
                </a:solidFill>
                <a:ln w="190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wrap="square" lIns="25818" tIns="25818" rIns="25818" bIns="25818" rtlCol="0" anchor="ctr">
                  <a:noAutofit/>
                </a:bodyPr>
                <a:lstStyle/>
                <a:p>
                  <a:pPr marL="0" indent="0" algn="ctr" defTabSz="703847" fontAlgn="ctr">
                    <a:spcBef>
                      <a:spcPts val="619"/>
                    </a:spcBef>
                    <a:buSzPct val="100000"/>
                    <a:buNone/>
                  </a:pPr>
                  <a:endParaRPr lang="en-US" sz="1363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6" name="TextBox 45">
                  <a:extLst>
                    <a:ext uri="{FF2B5EF4-FFF2-40B4-BE49-F238E27FC236}">
                      <a16:creationId xmlns:a16="http://schemas.microsoft.com/office/drawing/2014/main" id="{FFF99388-D195-FF21-D658-76353271CADE}"/>
                    </a:ext>
                  </a:extLst>
                </p:cNvPr>
                <p:cNvSpPr txBox="1"/>
                <p:nvPr>
                  <p:custDataLst>
                    <p:tags r:id="rId9"/>
                  </p:custDataLst>
                </p:nvPr>
              </p:nvSpPr>
              <p:spPr>
                <a:xfrm>
                  <a:off x="1712232" y="2743095"/>
                  <a:ext cx="980418" cy="834814"/>
                </a:xfrm>
                <a:prstGeom prst="rect">
                  <a:avLst/>
                </a:prstGeom>
                <a:solidFill>
                  <a:srgbClr val="FFFFFF"/>
                </a:solidFill>
                <a:ln w="190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wrap="square" lIns="25818" tIns="25818" rIns="25818" bIns="25818" rtlCol="0" anchor="ctr">
                  <a:noAutofit/>
                </a:bodyPr>
                <a:lstStyle/>
                <a:p>
                  <a:pPr marL="0" indent="0" algn="ctr" defTabSz="703847" fontAlgn="ctr">
                    <a:spcBef>
                      <a:spcPts val="619"/>
                    </a:spcBef>
                    <a:buSzPct val="100000"/>
                    <a:buNone/>
                  </a:pPr>
                  <a:endParaRPr lang="en-US" sz="1363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AD63CA56-9A4E-CCEE-C9AA-A12294FDB6C4}"/>
                    </a:ext>
                  </a:extLst>
                </p:cNvPr>
                <p:cNvSpPr txBox="1"/>
                <p:nvPr>
                  <p:custDataLst>
                    <p:tags r:id="rId10"/>
                  </p:custDataLst>
                </p:nvPr>
              </p:nvSpPr>
              <p:spPr>
                <a:xfrm>
                  <a:off x="1712226" y="4406123"/>
                  <a:ext cx="980418" cy="833072"/>
                </a:xfrm>
                <a:prstGeom prst="rect">
                  <a:avLst/>
                </a:prstGeom>
                <a:solidFill>
                  <a:srgbClr val="FFFFFF"/>
                </a:solidFill>
                <a:ln w="190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wrap="square" lIns="25818" tIns="25818" rIns="25818" bIns="25818" rtlCol="0" anchor="ctr">
                  <a:noAutofit/>
                </a:bodyPr>
                <a:lstStyle/>
                <a:p>
                  <a:pPr marL="0" indent="0" algn="ctr" defTabSz="703847" fontAlgn="ctr">
                    <a:spcBef>
                      <a:spcPts val="619"/>
                    </a:spcBef>
                    <a:buSzPct val="100000"/>
                    <a:buNone/>
                  </a:pPr>
                  <a:endParaRPr lang="en-US" sz="1363" b="1">
                    <a:solidFill>
                      <a:srgbClr val="000000"/>
                    </a:solidFill>
                  </a:endParaRPr>
                </a:p>
              </p:txBody>
            </p:sp>
            <p:pic>
              <p:nvPicPr>
                <p:cNvPr id="48" name="Picture 47">
                  <a:extLst>
                    <a:ext uri="{FF2B5EF4-FFF2-40B4-BE49-F238E27FC236}">
                      <a16:creationId xmlns:a16="http://schemas.microsoft.com/office/drawing/2014/main" id="{78961D40-6A2B-0C3E-C486-6B08A860C0A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96335" y="2042323"/>
                  <a:ext cx="361143" cy="409182"/>
                </a:xfrm>
                <a:prstGeom prst="rect">
                  <a:avLst/>
                </a:prstGeom>
              </p:spPr>
            </p:pic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7BC27D6E-F4F8-9A50-EAF9-AF85465FDD51}"/>
                    </a:ext>
                  </a:extLst>
                </p:cNvPr>
                <p:cNvSpPr txBox="1"/>
                <p:nvPr/>
              </p:nvSpPr>
              <p:spPr>
                <a:xfrm>
                  <a:off x="1838362" y="2500603"/>
                  <a:ext cx="659142" cy="191264"/>
                </a:xfrm>
                <a:prstGeom prst="rect">
                  <a:avLst/>
                </a:prstGeom>
                <a:noFill/>
              </p:spPr>
              <p:txBody>
                <a:bodyPr wrap="square" lIns="25818" tIns="25818" rIns="25818" bIns="25818" rtlCol="0">
                  <a:spAutoFit/>
                </a:bodyPr>
                <a:lstStyle/>
                <a:p>
                  <a:pPr marL="0" indent="0" algn="ctr">
                    <a:buNone/>
                  </a:pPr>
                  <a:r>
                    <a:rPr lang="en-US" sz="900" b="1"/>
                    <a:t>Facebook</a:t>
                  </a:r>
                </a:p>
              </p:txBody>
            </p:sp>
            <p:sp>
              <p:nvSpPr>
                <p:cNvPr id="50" name="TextBox 49">
                  <a:extLst>
                    <a:ext uri="{FF2B5EF4-FFF2-40B4-BE49-F238E27FC236}">
                      <a16:creationId xmlns:a16="http://schemas.microsoft.com/office/drawing/2014/main" id="{1E5B6696-6DA9-FC35-D476-D329C78E732A}"/>
                    </a:ext>
                  </a:extLst>
                </p:cNvPr>
                <p:cNvSpPr txBox="1"/>
                <p:nvPr/>
              </p:nvSpPr>
              <p:spPr>
                <a:xfrm>
                  <a:off x="1861155" y="3251118"/>
                  <a:ext cx="659142" cy="191264"/>
                </a:xfrm>
                <a:prstGeom prst="rect">
                  <a:avLst/>
                </a:prstGeom>
                <a:noFill/>
              </p:spPr>
              <p:txBody>
                <a:bodyPr wrap="square" lIns="25818" tIns="25818" rIns="25818" bIns="25818" rtlCol="0">
                  <a:spAutoFit/>
                </a:bodyPr>
                <a:lstStyle/>
                <a:p>
                  <a:pPr marL="0" indent="0" algn="ctr">
                    <a:buNone/>
                  </a:pPr>
                  <a:r>
                    <a:rPr lang="en-US" sz="900" b="1"/>
                    <a:t>Instagram</a:t>
                  </a:r>
                </a:p>
              </p:txBody>
            </p:sp>
            <p:sp>
              <p:nvSpPr>
                <p:cNvPr id="51" name="TextBox 50">
                  <a:extLst>
                    <a:ext uri="{FF2B5EF4-FFF2-40B4-BE49-F238E27FC236}">
                      <a16:creationId xmlns:a16="http://schemas.microsoft.com/office/drawing/2014/main" id="{806C6ED4-1FEB-4E24-3631-AD54B625C404}"/>
                    </a:ext>
                  </a:extLst>
                </p:cNvPr>
                <p:cNvSpPr txBox="1"/>
                <p:nvPr/>
              </p:nvSpPr>
              <p:spPr>
                <a:xfrm>
                  <a:off x="1845023" y="4176619"/>
                  <a:ext cx="659142" cy="172999"/>
                </a:xfrm>
                <a:prstGeom prst="rect">
                  <a:avLst/>
                </a:prstGeom>
                <a:noFill/>
              </p:spPr>
              <p:txBody>
                <a:bodyPr wrap="square" lIns="25818" tIns="25818" rIns="25818" bIns="25818" rtlCol="0">
                  <a:spAutoFit/>
                </a:bodyPr>
                <a:lstStyle/>
                <a:p>
                  <a:pPr marL="0" indent="0" algn="ctr">
                    <a:buNone/>
                  </a:pPr>
                  <a:r>
                    <a:rPr lang="en-US" sz="900" b="1"/>
                    <a:t>X (Twitter)</a:t>
                  </a:r>
                </a:p>
              </p:txBody>
            </p:sp>
            <p:sp>
              <p:nvSpPr>
                <p:cNvPr id="56" name="TextBox 55">
                  <a:extLst>
                    <a:ext uri="{FF2B5EF4-FFF2-40B4-BE49-F238E27FC236}">
                      <a16:creationId xmlns:a16="http://schemas.microsoft.com/office/drawing/2014/main" id="{FF65EE2C-E7DE-7713-6920-21C98936A47C}"/>
                    </a:ext>
                  </a:extLst>
                </p:cNvPr>
                <p:cNvSpPr txBox="1"/>
                <p:nvPr/>
              </p:nvSpPr>
              <p:spPr>
                <a:xfrm>
                  <a:off x="1845023" y="4931091"/>
                  <a:ext cx="659142" cy="191264"/>
                </a:xfrm>
                <a:prstGeom prst="rect">
                  <a:avLst/>
                </a:prstGeom>
                <a:noFill/>
              </p:spPr>
              <p:txBody>
                <a:bodyPr wrap="square" lIns="25818" tIns="25818" rIns="25818" bIns="25818" rtlCol="0">
                  <a:spAutoFit/>
                </a:bodyPr>
                <a:lstStyle/>
                <a:p>
                  <a:pPr marL="0" indent="0" algn="ctr">
                    <a:buNone/>
                  </a:pPr>
                  <a:r>
                    <a:rPr lang="en-US" sz="900" b="1"/>
                    <a:t>YouTube</a:t>
                  </a:r>
                </a:p>
              </p:txBody>
            </p:sp>
          </p:grp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3705F61C-D51F-3DCB-8A7F-72E43840E58C}"/>
                  </a:ext>
                </a:extLst>
              </p:cNvPr>
              <p:cNvSpPr txBox="1"/>
              <p:nvPr>
                <p:custDataLst>
                  <p:tags r:id="rId6"/>
                </p:custDataLst>
              </p:nvPr>
            </p:nvSpPr>
            <p:spPr>
              <a:xfrm>
                <a:off x="372437" y="5405280"/>
                <a:ext cx="1109944" cy="915238"/>
              </a:xfrm>
              <a:prstGeom prst="rect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  <a:effectLst/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wrap="square" lIns="25818" tIns="25818" rIns="25818" bIns="25818" rtlCol="0" anchor="ctr">
                <a:noAutofit/>
              </a:bodyPr>
              <a:lstStyle/>
              <a:p>
                <a:pPr marL="0" indent="0" algn="ctr" defTabSz="703847" fontAlgn="ctr">
                  <a:spcBef>
                    <a:spcPts val="619"/>
                  </a:spcBef>
                  <a:buSzPct val="100000"/>
                  <a:buNone/>
                </a:pPr>
                <a:endParaRPr lang="en-US" sz="1363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899F0F4C-9D46-943D-39CA-2E50253059BD}"/>
                  </a:ext>
                </a:extLst>
              </p:cNvPr>
              <p:cNvSpPr txBox="1"/>
              <p:nvPr/>
            </p:nvSpPr>
            <p:spPr>
              <a:xfrm>
                <a:off x="514987" y="6017896"/>
                <a:ext cx="746223" cy="190640"/>
              </a:xfrm>
              <a:prstGeom prst="rect">
                <a:avLst/>
              </a:prstGeom>
              <a:noFill/>
            </p:spPr>
            <p:txBody>
              <a:bodyPr wrap="square" lIns="25818" tIns="25818" rIns="25818" bIns="25818" rtlCol="0">
                <a:spAutoFit/>
              </a:bodyPr>
              <a:lstStyle/>
              <a:p>
                <a:pPr marL="0" indent="0" algn="ctr">
                  <a:buNone/>
                </a:pPr>
                <a:r>
                  <a:rPr lang="en-US" sz="900" b="1"/>
                  <a:t>TikTok</a:t>
                </a:r>
              </a:p>
            </p:txBody>
          </p:sp>
          <p:pic>
            <p:nvPicPr>
              <p:cNvPr id="39" name="Picture 2" descr="Tiktok Logo - Free Vectors &amp; PSDs to Download">
                <a:extLst>
                  <a:ext uri="{FF2B5EF4-FFF2-40B4-BE49-F238E27FC236}">
                    <a16:creationId xmlns:a16="http://schemas.microsoft.com/office/drawing/2014/main" id="{AAC9CC1F-CD74-2203-0E83-9253C863D42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0367" y="5584589"/>
                <a:ext cx="415463" cy="41546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20" name="Picture 6">
              <a:extLst>
                <a:ext uri="{FF2B5EF4-FFF2-40B4-BE49-F238E27FC236}">
                  <a16:creationId xmlns:a16="http://schemas.microsoft.com/office/drawing/2014/main" id="{116BEFB6-8E3B-330D-DB03-B6E1B53929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3734" y="4638284"/>
              <a:ext cx="549547" cy="3801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8" descr="Instagram Logo - Free Vectors &amp; PSDs to Download">
              <a:extLst>
                <a:ext uri="{FF2B5EF4-FFF2-40B4-BE49-F238E27FC236}">
                  <a16:creationId xmlns:a16="http://schemas.microsoft.com/office/drawing/2014/main" id="{E751831C-3A0D-2F57-8CDB-467145F917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6218" y="2768606"/>
              <a:ext cx="433108" cy="4331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84" name="Table 83">
            <a:extLst>
              <a:ext uri="{FF2B5EF4-FFF2-40B4-BE49-F238E27FC236}">
                <a16:creationId xmlns:a16="http://schemas.microsoft.com/office/drawing/2014/main" id="{8E3910C7-A074-F036-9FFE-649A59CF57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8783627"/>
              </p:ext>
            </p:extLst>
          </p:nvPr>
        </p:nvGraphicFramePr>
        <p:xfrm>
          <a:off x="1490736" y="1269611"/>
          <a:ext cx="10380587" cy="5050902"/>
        </p:xfrm>
        <a:graphic>
          <a:graphicData uri="http://schemas.openxmlformats.org/drawingml/2006/table">
            <a:tbl>
              <a:tblPr/>
              <a:tblGrid>
                <a:gridCol w="2362073">
                  <a:extLst>
                    <a:ext uri="{9D8B030D-6E8A-4147-A177-3AD203B41FA5}">
                      <a16:colId xmlns:a16="http://schemas.microsoft.com/office/drawing/2014/main" val="4205307525"/>
                    </a:ext>
                  </a:extLst>
                </a:gridCol>
                <a:gridCol w="890946">
                  <a:extLst>
                    <a:ext uri="{9D8B030D-6E8A-4147-A177-3AD203B41FA5}">
                      <a16:colId xmlns:a16="http://schemas.microsoft.com/office/drawing/2014/main" val="3194185984"/>
                    </a:ext>
                  </a:extLst>
                </a:gridCol>
                <a:gridCol w="890946">
                  <a:extLst>
                    <a:ext uri="{9D8B030D-6E8A-4147-A177-3AD203B41FA5}">
                      <a16:colId xmlns:a16="http://schemas.microsoft.com/office/drawing/2014/main" val="2073354395"/>
                    </a:ext>
                  </a:extLst>
                </a:gridCol>
                <a:gridCol w="890946">
                  <a:extLst>
                    <a:ext uri="{9D8B030D-6E8A-4147-A177-3AD203B41FA5}">
                      <a16:colId xmlns:a16="http://schemas.microsoft.com/office/drawing/2014/main" val="3146917070"/>
                    </a:ext>
                  </a:extLst>
                </a:gridCol>
                <a:gridCol w="890946">
                  <a:extLst>
                    <a:ext uri="{9D8B030D-6E8A-4147-A177-3AD203B41FA5}">
                      <a16:colId xmlns:a16="http://schemas.microsoft.com/office/drawing/2014/main" val="2791338486"/>
                    </a:ext>
                  </a:extLst>
                </a:gridCol>
                <a:gridCol w="890946">
                  <a:extLst>
                    <a:ext uri="{9D8B030D-6E8A-4147-A177-3AD203B41FA5}">
                      <a16:colId xmlns:a16="http://schemas.microsoft.com/office/drawing/2014/main" val="1318269112"/>
                    </a:ext>
                  </a:extLst>
                </a:gridCol>
                <a:gridCol w="890946">
                  <a:extLst>
                    <a:ext uri="{9D8B030D-6E8A-4147-A177-3AD203B41FA5}">
                      <a16:colId xmlns:a16="http://schemas.microsoft.com/office/drawing/2014/main" val="876261238"/>
                    </a:ext>
                  </a:extLst>
                </a:gridCol>
                <a:gridCol w="890946">
                  <a:extLst>
                    <a:ext uri="{9D8B030D-6E8A-4147-A177-3AD203B41FA5}">
                      <a16:colId xmlns:a16="http://schemas.microsoft.com/office/drawing/2014/main" val="1379018559"/>
                    </a:ext>
                  </a:extLst>
                </a:gridCol>
                <a:gridCol w="890946">
                  <a:extLst>
                    <a:ext uri="{9D8B030D-6E8A-4147-A177-3AD203B41FA5}">
                      <a16:colId xmlns:a16="http://schemas.microsoft.com/office/drawing/2014/main" val="3408663695"/>
                    </a:ext>
                  </a:extLst>
                </a:gridCol>
                <a:gridCol w="890946">
                  <a:extLst>
                    <a:ext uri="{9D8B030D-6E8A-4147-A177-3AD203B41FA5}">
                      <a16:colId xmlns:a16="http://schemas.microsoft.com/office/drawing/2014/main" val="592899468"/>
                    </a:ext>
                  </a:extLst>
                </a:gridCol>
              </a:tblGrid>
              <a:tr h="467802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Peer 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Peer 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Peer 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Target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Peer 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Peer 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Peer 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Peer 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Peer 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2374032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dience (K)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2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1E4D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0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FEC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686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D6C6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68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9414307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ctivity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8C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6C6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1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2C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6D6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DEC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5842722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gagement (K)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1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D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C1B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737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797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9227273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gagement Rate (per post per 10K)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5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7C7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7E7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C4B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4C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C8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2056435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dience (K)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72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9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0ED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2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DEB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4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FEC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1777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C7B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5878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828837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ctivity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7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0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7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DFC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2C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ACA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BC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A99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8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9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8601605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gagement (K)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18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D6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2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C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D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7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4C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82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1614303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gagement Rate </a:t>
                      </a:r>
                      <a:r>
                        <a:rPr lang="en-US" sz="1000" b="1" i="1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per post per 10K)</a:t>
                      </a:r>
                      <a:endParaRPr lang="en-US" sz="1000" b="1" i="1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E3C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A89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E3C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2C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DAC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C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2557604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dience (K)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6D6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EA89D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711200" rtl="0" eaLnBrk="1" fontAlgn="t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u="none" strike="noStrike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es not have X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 rowSpan="4" gridSpan="4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1" u="none" strike="noStrike" dirty="0">
                          <a:solidFill>
                            <a:schemeClr val="bg2">
                              <a:lumMod val="40000"/>
                              <a:lumOff val="60000"/>
                            </a:schemeClr>
                          </a:solidFill>
                          <a:effectLst/>
                          <a:latin typeface="+mj-lt"/>
                        </a:rPr>
                        <a:t>Do not have X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 h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4" h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4" h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7216604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ctivity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4820111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gagement (K)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0031634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gagement Rate </a:t>
                      </a:r>
                      <a:r>
                        <a:rPr lang="en-US" sz="1000" b="1" i="1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per post per 10K)</a:t>
                      </a:r>
                      <a:endParaRPr lang="en-US" sz="1000" b="1" i="1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1917319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dience (K)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E6D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0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0E6D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6E7D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1E8D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0737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0376269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ctivity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9D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A29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AC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757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757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9D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4507437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gagement (K)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0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0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696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7B7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8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7165353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gagement Rate </a:t>
                      </a:r>
                      <a:r>
                        <a:rPr lang="en-US" sz="1000" b="1" i="1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per post per 10K)</a:t>
                      </a:r>
                      <a:endParaRPr lang="en-US" sz="1000" b="1" i="1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7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7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00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7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6B6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9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7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DF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3229051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dience (K)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5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68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1AFA3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711200" rtl="0" eaLnBrk="1" fontAlgn="t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1" u="none" strike="noStrike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es not have TikTok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CA19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1ED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090224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ctivity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8E8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AC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BC7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7C7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696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5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336901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gagement (K)</a:t>
                      </a: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B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9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A09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CD6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8F8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E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8542703"/>
                  </a:ext>
                </a:extLst>
              </a:tr>
              <a:tr h="229155"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000" b="1" i="1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gagement Rate </a:t>
                      </a:r>
                      <a:r>
                        <a:rPr lang="en-US" sz="1000" b="1" i="1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per post per 10K)</a:t>
                      </a:r>
                      <a:endParaRPr lang="en-US" sz="1000" b="1" i="1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4B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8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9D9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CCB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DD7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6D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C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t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D1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5289239"/>
                  </a:ext>
                </a:extLst>
              </a:tr>
            </a:tbl>
          </a:graphicData>
        </a:graphic>
      </p:graphicFrame>
      <p:pic>
        <p:nvPicPr>
          <p:cNvPr id="5" name="Picture 4" descr="Twitter Logo and symbol, meaning, history, sign.">
            <a:extLst>
              <a:ext uri="{FF2B5EF4-FFF2-40B4-BE49-F238E27FC236}">
                <a16:creationId xmlns:a16="http://schemas.microsoft.com/office/drawing/2014/main" id="{1B574110-EBE5-3FC4-9372-E22A1E39C7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783" y="3743621"/>
            <a:ext cx="713882" cy="399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btfpNotesBox868359">
            <a:extLst>
              <a:ext uri="{FF2B5EF4-FFF2-40B4-BE49-F238E27FC236}">
                <a16:creationId xmlns:a16="http://schemas.microsoft.com/office/drawing/2014/main" id="{C99A35D3-5E1C-6502-79C9-389A959D6AFF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FanpageKarma; Audience as on Dec 31, 2023; Activity and Engagement for the last 12 months; Jan’23-Dec’23; Note: Engagement rate per post per 10K audience calculated as (Engagement / Activity / Audience) * 10K</a:t>
            </a:r>
          </a:p>
        </p:txBody>
      </p:sp>
      <p:sp>
        <p:nvSpPr>
          <p:cNvPr id="3" name="btfpCallout943730">
            <a:extLst>
              <a:ext uri="{FF2B5EF4-FFF2-40B4-BE49-F238E27FC236}">
                <a16:creationId xmlns:a16="http://schemas.microsoft.com/office/drawing/2014/main" id="{7E80D566-83B1-2701-2BD0-DA15B1EF8E5A}"/>
              </a:ext>
            </a:extLst>
          </p:cNvPr>
          <p:cNvSpPr/>
          <p:nvPr/>
        </p:nvSpPr>
        <p:spPr bwMode="gray">
          <a:xfrm>
            <a:off x="2510655" y="1312194"/>
            <a:ext cx="1206163" cy="322723"/>
          </a:xfrm>
          <a:prstGeom prst="wedgeRectCallout">
            <a:avLst>
              <a:gd name="adj1" fmla="val 57367"/>
              <a:gd name="adj2" fmla="val 20137"/>
            </a:avLst>
          </a:prstGeom>
          <a:solidFill>
            <a:srgbClr val="FAEEC3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i="1">
                <a:solidFill>
                  <a:schemeClr val="tx1"/>
                </a:solidFill>
              </a:rPr>
              <a:t>Diversified brand beyond just swimwear</a:t>
            </a:r>
          </a:p>
        </p:txBody>
      </p:sp>
      <p:sp>
        <p:nvSpPr>
          <p:cNvPr id="12" name="btfpCallout210996">
            <a:extLst>
              <a:ext uri="{FF2B5EF4-FFF2-40B4-BE49-F238E27FC236}">
                <a16:creationId xmlns:a16="http://schemas.microsoft.com/office/drawing/2014/main" id="{80F6DE52-D8D1-6DE2-8C63-E58367A65CC4}"/>
              </a:ext>
            </a:extLst>
          </p:cNvPr>
          <p:cNvSpPr/>
          <p:nvPr/>
        </p:nvSpPr>
        <p:spPr bwMode="gray">
          <a:xfrm>
            <a:off x="5319785" y="5127172"/>
            <a:ext cx="628953" cy="1167190"/>
          </a:xfrm>
          <a:prstGeom prst="wedgeRectCallout">
            <a:avLst>
              <a:gd name="adj1" fmla="val -61272"/>
              <a:gd name="adj2" fmla="val 9709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700" i="1" dirty="0">
                <a:solidFill>
                  <a:srgbClr val="5C5C5C"/>
                </a:solidFill>
              </a:rPr>
              <a:t>Thematic videos (holidays, festive season) + videos featuring the latest collection and influencers</a:t>
            </a:r>
          </a:p>
        </p:txBody>
      </p:sp>
      <p:sp>
        <p:nvSpPr>
          <p:cNvPr id="13" name="btfpCallout210996">
            <a:extLst>
              <a:ext uri="{FF2B5EF4-FFF2-40B4-BE49-F238E27FC236}">
                <a16:creationId xmlns:a16="http://schemas.microsoft.com/office/drawing/2014/main" id="{39AD287B-D509-D22F-6934-CB3ABEC741B6}"/>
              </a:ext>
            </a:extLst>
          </p:cNvPr>
          <p:cNvSpPr/>
          <p:nvPr/>
        </p:nvSpPr>
        <p:spPr bwMode="gray">
          <a:xfrm>
            <a:off x="6251513" y="1963172"/>
            <a:ext cx="549980" cy="640047"/>
          </a:xfrm>
          <a:prstGeom prst="wedgeRectCallout">
            <a:avLst>
              <a:gd name="adj1" fmla="val -57536"/>
              <a:gd name="adj2" fmla="val -24001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700" i="1" dirty="0">
                <a:solidFill>
                  <a:srgbClr val="5C5C5C"/>
                </a:solidFill>
              </a:rPr>
              <a:t>High frequency of posts featuring the product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194275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74D4E0F-BE83-0484-92FC-CE46DCE32D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6542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606" imgH="608" progId="TCLayout.ActiveDocument.1">
                  <p:embed/>
                </p:oleObj>
              </mc:Choice>
              <mc:Fallback>
                <p:oleObj name="think-cell Slide" r:id="rId13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4D4E0F-BE83-0484-92FC-CE46DCE32D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1" name="btfpColumnIndicatorGroup2">
            <a:extLst>
              <a:ext uri="{FF2B5EF4-FFF2-40B4-BE49-F238E27FC236}">
                <a16:creationId xmlns:a16="http://schemas.microsoft.com/office/drawing/2014/main" id="{8ADC521D-682A-7662-5A0E-E5BAE06019ED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9" name="btfpColumnGapBlocker380252">
              <a:extLst>
                <a:ext uri="{FF2B5EF4-FFF2-40B4-BE49-F238E27FC236}">
                  <a16:creationId xmlns:a16="http://schemas.microsoft.com/office/drawing/2014/main" id="{926443D9-1C6C-A1DF-0D4A-9AFD56DAC545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7" name="btfpColumnGapBlocker678718">
              <a:extLst>
                <a:ext uri="{FF2B5EF4-FFF2-40B4-BE49-F238E27FC236}">
                  <a16:creationId xmlns:a16="http://schemas.microsoft.com/office/drawing/2014/main" id="{17E73553-9611-7A21-1305-73041EC466D6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5" name="btfpColumnIndicator330893">
              <a:extLst>
                <a:ext uri="{FF2B5EF4-FFF2-40B4-BE49-F238E27FC236}">
                  <a16:creationId xmlns:a16="http://schemas.microsoft.com/office/drawing/2014/main" id="{3F92F85E-375D-A380-A7C1-EF7C0923D5DA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btfpColumnIndicator461612">
              <a:extLst>
                <a:ext uri="{FF2B5EF4-FFF2-40B4-BE49-F238E27FC236}">
                  <a16:creationId xmlns:a16="http://schemas.microsoft.com/office/drawing/2014/main" id="{8F4ADEAA-597F-96A1-0194-60CEBAA64152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btfpColumnGapBlocker549195">
              <a:extLst>
                <a:ext uri="{FF2B5EF4-FFF2-40B4-BE49-F238E27FC236}">
                  <a16:creationId xmlns:a16="http://schemas.microsoft.com/office/drawing/2014/main" id="{60F0218D-7370-E3C6-D39E-1B3004425727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8" name="btfpColumnIndicator519756">
              <a:extLst>
                <a:ext uri="{FF2B5EF4-FFF2-40B4-BE49-F238E27FC236}">
                  <a16:creationId xmlns:a16="http://schemas.microsoft.com/office/drawing/2014/main" id="{F6267951-020E-AB8D-EEFB-5FB8C1F8109F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btfpColumnIndicator825287">
              <a:extLst>
                <a:ext uri="{FF2B5EF4-FFF2-40B4-BE49-F238E27FC236}">
                  <a16:creationId xmlns:a16="http://schemas.microsoft.com/office/drawing/2014/main" id="{C19B85BE-6D5A-B41D-111B-D0E9BAF6428C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btfpColumnGapBlocker791720">
              <a:extLst>
                <a:ext uri="{FF2B5EF4-FFF2-40B4-BE49-F238E27FC236}">
                  <a16:creationId xmlns:a16="http://schemas.microsoft.com/office/drawing/2014/main" id="{35B2276E-3D15-4DEC-3194-D94AAC2FADFD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735149">
              <a:extLst>
                <a:ext uri="{FF2B5EF4-FFF2-40B4-BE49-F238E27FC236}">
                  <a16:creationId xmlns:a16="http://schemas.microsoft.com/office/drawing/2014/main" id="{B500FE4F-6E25-07F2-08EA-EB9CF34BB249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157649">
              <a:extLst>
                <a:ext uri="{FF2B5EF4-FFF2-40B4-BE49-F238E27FC236}">
                  <a16:creationId xmlns:a16="http://schemas.microsoft.com/office/drawing/2014/main" id="{CE562D76-4C0D-0D2D-997B-CB529834A061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btfpColumnIndicatorGroup1">
            <a:extLst>
              <a:ext uri="{FF2B5EF4-FFF2-40B4-BE49-F238E27FC236}">
                <a16:creationId xmlns:a16="http://schemas.microsoft.com/office/drawing/2014/main" id="{532FBEC7-DC62-8BCC-A86F-C63CBAEF4DD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8" name="btfpColumnGapBlocker879455">
              <a:extLst>
                <a:ext uri="{FF2B5EF4-FFF2-40B4-BE49-F238E27FC236}">
                  <a16:creationId xmlns:a16="http://schemas.microsoft.com/office/drawing/2014/main" id="{9FCCB53A-16BE-FD8F-0E7B-A6B6D69A5E42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6" name="btfpColumnGapBlocker823642">
              <a:extLst>
                <a:ext uri="{FF2B5EF4-FFF2-40B4-BE49-F238E27FC236}">
                  <a16:creationId xmlns:a16="http://schemas.microsoft.com/office/drawing/2014/main" id="{8E209B4B-AB66-B7F1-8627-B5F8232FC13E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3" name="btfpColumnIndicator750187">
              <a:extLst>
                <a:ext uri="{FF2B5EF4-FFF2-40B4-BE49-F238E27FC236}">
                  <a16:creationId xmlns:a16="http://schemas.microsoft.com/office/drawing/2014/main" id="{A21E49ED-95A9-BD18-ACC5-71F359363E4C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btfpColumnIndicator605421">
              <a:extLst>
                <a:ext uri="{FF2B5EF4-FFF2-40B4-BE49-F238E27FC236}">
                  <a16:creationId xmlns:a16="http://schemas.microsoft.com/office/drawing/2014/main" id="{79BEE9AC-8D17-A19A-2B1A-4A29F986DDA1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btfpColumnGapBlocker424574">
              <a:extLst>
                <a:ext uri="{FF2B5EF4-FFF2-40B4-BE49-F238E27FC236}">
                  <a16:creationId xmlns:a16="http://schemas.microsoft.com/office/drawing/2014/main" id="{35787BCA-A5F8-87C5-5E4C-AD030224F35A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btfpColumnIndicator958812">
              <a:extLst>
                <a:ext uri="{FF2B5EF4-FFF2-40B4-BE49-F238E27FC236}">
                  <a16:creationId xmlns:a16="http://schemas.microsoft.com/office/drawing/2014/main" id="{10DAFFBE-8BF2-A4D1-DD17-568CE6F77DB6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281652">
              <a:extLst>
                <a:ext uri="{FF2B5EF4-FFF2-40B4-BE49-F238E27FC236}">
                  <a16:creationId xmlns:a16="http://schemas.microsoft.com/office/drawing/2014/main" id="{63DF602C-A0CE-39E5-3181-E702DDAC6C20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btfpColumnGapBlocker429671">
              <a:extLst>
                <a:ext uri="{FF2B5EF4-FFF2-40B4-BE49-F238E27FC236}">
                  <a16:creationId xmlns:a16="http://schemas.microsoft.com/office/drawing/2014/main" id="{BD257F1E-CCF8-0C1A-7F17-944BD4FE1EA7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327441">
              <a:extLst>
                <a:ext uri="{FF2B5EF4-FFF2-40B4-BE49-F238E27FC236}">
                  <a16:creationId xmlns:a16="http://schemas.microsoft.com/office/drawing/2014/main" id="{F011E23A-99E0-60E2-3605-7719F04AB3FD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04721">
              <a:extLst>
                <a:ext uri="{FF2B5EF4-FFF2-40B4-BE49-F238E27FC236}">
                  <a16:creationId xmlns:a16="http://schemas.microsoft.com/office/drawing/2014/main" id="{F8FE9775-A08D-46CF-2151-89D740AB51F2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6B3CA210-6BC3-4334-BB0B-46C8A39132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054" y="0"/>
            <a:ext cx="11522075" cy="876687"/>
          </a:xfrm>
        </p:spPr>
        <p:txBody>
          <a:bodyPr vert="horz"/>
          <a:lstStyle/>
          <a:p>
            <a:r>
              <a:rPr lang="en-GB" b="1" dirty="0"/>
              <a:t>Social media ads (FB/IG)</a:t>
            </a:r>
            <a:r>
              <a:rPr lang="en-GB" dirty="0"/>
              <a:t>: Target significantly more active vs. competitors; scope to diversify the creatives’ style/format</a:t>
            </a:r>
          </a:p>
        </p:txBody>
      </p:sp>
      <p:pic>
        <p:nvPicPr>
          <p:cNvPr id="34" name="btfpIconLines155624">
            <a:extLst>
              <a:ext uri="{FF2B5EF4-FFF2-40B4-BE49-F238E27FC236}">
                <a16:creationId xmlns:a16="http://schemas.microsoft.com/office/drawing/2014/main" id="{FF89EC04-53B9-4683-A4A3-7757D3A6C238}"/>
              </a:ext>
            </a:extLst>
          </p:cNvPr>
          <p:cNvPicPr>
            <a:picLocks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9800" y="1238178"/>
            <a:ext cx="391380" cy="391380"/>
          </a:xfrm>
          <a:prstGeom prst="rect">
            <a:avLst/>
          </a:prstGeom>
        </p:spPr>
      </p:pic>
      <p:grpSp>
        <p:nvGrpSpPr>
          <p:cNvPr id="86" name="btfpStatusSticker954153">
            <a:extLst>
              <a:ext uri="{FF2B5EF4-FFF2-40B4-BE49-F238E27FC236}">
                <a16:creationId xmlns:a16="http://schemas.microsoft.com/office/drawing/2014/main" id="{5BE5A60C-4F77-5B4D-3509-11993F4AECD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102664" y="955344"/>
            <a:ext cx="1759136" cy="235611"/>
            <a:chOff x="-3308535" y="876300"/>
            <a:chExt cx="1759136" cy="235611"/>
          </a:xfrm>
        </p:grpSpPr>
        <p:sp>
          <p:nvSpPr>
            <p:cNvPr id="84" name="btfpStatusStickerText954153">
              <a:extLst>
                <a:ext uri="{FF2B5EF4-FFF2-40B4-BE49-F238E27FC236}">
                  <a16:creationId xmlns:a16="http://schemas.microsoft.com/office/drawing/2014/main" id="{478A8F7B-E1C3-9B0E-5425-1C73DA0229B1}"/>
                </a:ext>
              </a:extLst>
            </p:cNvPr>
            <p:cNvSpPr txBox="1"/>
            <p:nvPr/>
          </p:nvSpPr>
          <p:spPr bwMode="gray">
            <a:xfrm>
              <a:off x="-3308535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85" name="btfpStatusStickerLine954153">
              <a:extLst>
                <a:ext uri="{FF2B5EF4-FFF2-40B4-BE49-F238E27FC236}">
                  <a16:creationId xmlns:a16="http://schemas.microsoft.com/office/drawing/2014/main" id="{9FC721EC-0733-3EBC-61EB-B1EF5126F42D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330853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HeaderBox871977">
            <a:extLst>
              <a:ext uri="{FF2B5EF4-FFF2-40B4-BE49-F238E27FC236}">
                <a16:creationId xmlns:a16="http://schemas.microsoft.com/office/drawing/2014/main" id="{12D18823-4086-0D2F-4D6B-662D7D787A8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30200" y="1349199"/>
            <a:ext cx="7458564" cy="309072"/>
            <a:chOff x="330200" y="1027537"/>
            <a:chExt cx="11531600" cy="309072"/>
          </a:xfrm>
        </p:grpSpPr>
        <p:sp>
          <p:nvSpPr>
            <p:cNvPr id="14" name="btfpColumnHeaderBoxText871977">
              <a:extLst>
                <a:ext uri="{FF2B5EF4-FFF2-40B4-BE49-F238E27FC236}">
                  <a16:creationId xmlns:a16="http://schemas.microsoft.com/office/drawing/2014/main" id="{763B2FC3-DE61-CD57-B7F2-9D01BEEB064B}"/>
                </a:ext>
              </a:extLst>
            </p:cNvPr>
            <p:cNvSpPr txBox="1"/>
            <p:nvPr/>
          </p:nvSpPr>
          <p:spPr bwMode="gray">
            <a:xfrm>
              <a:off x="330200" y="1027537"/>
              <a:ext cx="11531600" cy="303608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buNone/>
              </a:pPr>
              <a:r>
                <a:rPr lang="en-US" sz="1500" b="1" dirty="0"/>
                <a:t>Target and Peer 3 lead in # of ads; &gt;90% of Target’s ads in static format</a:t>
              </a:r>
            </a:p>
          </p:txBody>
        </p:sp>
        <p:cxnSp>
          <p:nvCxnSpPr>
            <p:cNvPr id="15" name="btfpColumnHeaderBoxLine871977">
              <a:extLst>
                <a:ext uri="{FF2B5EF4-FFF2-40B4-BE49-F238E27FC236}">
                  <a16:creationId xmlns:a16="http://schemas.microsoft.com/office/drawing/2014/main" id="{29AB51EE-2B9E-3B21-52B7-E955C8D3502F}"/>
                </a:ext>
              </a:extLst>
            </p:cNvPr>
            <p:cNvCxnSpPr/>
            <p:nvPr/>
          </p:nvCxnSpPr>
          <p:spPr bwMode="gray">
            <a:xfrm>
              <a:off x="330200" y="1336609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btfpColumnHeaderBox871977">
            <a:extLst>
              <a:ext uri="{FF2B5EF4-FFF2-40B4-BE49-F238E27FC236}">
                <a16:creationId xmlns:a16="http://schemas.microsoft.com/office/drawing/2014/main" id="{EF672F4F-C0D4-A91C-050B-25C1B65E1070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524333" y="1339803"/>
            <a:ext cx="3296847" cy="315913"/>
            <a:chOff x="330200" y="1020696"/>
            <a:chExt cx="11531600" cy="315913"/>
          </a:xfrm>
        </p:grpSpPr>
        <p:sp>
          <p:nvSpPr>
            <p:cNvPr id="24" name="btfpColumnHeaderBoxText871977">
              <a:extLst>
                <a:ext uri="{FF2B5EF4-FFF2-40B4-BE49-F238E27FC236}">
                  <a16:creationId xmlns:a16="http://schemas.microsoft.com/office/drawing/2014/main" id="{3B006844-8359-0FBE-C8C7-D1365C3BCD3C}"/>
                </a:ext>
              </a:extLst>
            </p:cNvPr>
            <p:cNvSpPr txBox="1"/>
            <p:nvPr/>
          </p:nvSpPr>
          <p:spPr bwMode="gray">
            <a:xfrm>
              <a:off x="330200" y="1020696"/>
              <a:ext cx="11531600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buNone/>
              </a:pPr>
              <a:r>
                <a:rPr lang="en-US" b="1"/>
                <a:t>Commentary</a:t>
              </a:r>
            </a:p>
          </p:txBody>
        </p:sp>
        <p:cxnSp>
          <p:nvCxnSpPr>
            <p:cNvPr id="25" name="btfpColumnHeaderBoxLine871977">
              <a:extLst>
                <a:ext uri="{FF2B5EF4-FFF2-40B4-BE49-F238E27FC236}">
                  <a16:creationId xmlns:a16="http://schemas.microsoft.com/office/drawing/2014/main" id="{4BF31364-BE6D-0D38-01F7-6E8C4972A802}"/>
                </a:ext>
              </a:extLst>
            </p:cNvPr>
            <p:cNvCxnSpPr/>
            <p:nvPr/>
          </p:nvCxnSpPr>
          <p:spPr bwMode="gray">
            <a:xfrm>
              <a:off x="330200" y="1336609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ectangle 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qFHiboAhnyFYO40OgDW9etHQ3Sy44XTVMcMC1tL7LmNH8lNkbB1Jw9nduKjj94yZw/Me2WqwClzThRPxzPfb7U0Ezc6ymFC3HIdD5tkg+WW9oEick+8eg79QfTstLkDjf+LQpZOqkzUiu94IsCbVXr5OpmnuG2y/lFonp6vSXkY7I9Qlrq6INlq4OY8/f79GtyG69vBipcHf6bM78PGESgxtO49+cRo/A70kPl70xje2NpZOIjYoWDaNFHwN5TcsPiKMFKJ0OfKxnS1LLuRDXazaBZJ2DSbaN8/+dRzGzvSbQE5SLA/oKMr+DTK/tI2JuFNoNs7kBIAznVaCy99hCxatAhNo1/60Smw0aTtAiWhZMXC4UH8aWBXiZNIms4i5iH363SnPIAZWkb/1/PDcp+iqt+i3dmbzoCPfoNUSRrSEyCgSdU11Vlh554DajhanqCX3I2O93M7DaM8AsbQIBY5v7HnC5q+3Rw+Qqx8lEbzAwKZUGC75DnC0XzIdrFDzR+rCe79DvSvSxCztZ0lDpSsgMvRPtu1W+xdS5oCRmcWJpIomue844qUoAfK0yZxrr1rYGUSFIJ6x5HAfm6R+TtJ2PoxuP1VFslHWyKWt451IEmOHv6V5FJaBMfVLjhRN6Q8RgR/nSAAyt0nCWnCtENboEu9I0a8kBtI6OpD5zGfWELsTNLyqeEUoSy5KLg/l+hcXPHHF6mFgWJKjrjWemPTbQyxof/AcxXbDHXgDK/9TobRAueyAHOyYhnwSStyKUGE/03NBT9a1xjsc7VRZZPt+wK2+WCTaZXHvseXFz3ouykShi1MDzR0hcNLM3JfGSbAuN6QLJUNJ8r4b3E9gZ+pw6ufK5AbaSXVgc/vKnvS+2jw0ym7Hm6OKr4dhZQ9Op2juxzVBzPhxBnm2Wa+saEOWOk8YPjAGR8VH69pnXgGpPhhK0iuosfkB5zTC7B19G9CMsa5vqzVNqpLU44tUuY23NGEgmsAhGcWDVrLHOqAFsUClJnGU45ymF0seQt0v8i0eVGGxK6dauHOWmZwf431b5n+q6N8Y636UdXNdy43JcFceKyDxNEKGHVM0rN8XdHF930BbiXhxQcPHkcpFsE0IMQvH2NVVgU6zgRKX3BZ0ZwEwOesjKPB0/QETFU9IMye78bNfmwWjJTgEf61XjjjJCqesfyBj8yrm1UsIRba/Jta0tK/OvzN8Z2FidzR95IXW1faGYJ+pzffdSdA90y1ebf5pJD5qN3kN+kperb7DuhT2DkjiExyRUt3ykO1QiGglmJ8wvlhCFGT7tTEvymmgoZyK9r6V5JAEgmCdPor3OW9Di/Ec62wXWoX1AjK3DM3XBjoFFxNcNxITkcijklJElOPE5kvXGQ+Bbf+gotCFIwQxOdqt1QzzTSXo8sh7ufkYRYfF4AplOLNA39CvftEwU6hJQoHnUewhx7/DIkoIdVsEulHJrgSdWjgNf0Qqdj07vvbHjf/7ts1LYEKMuMtSPgyREVatYaribvPuRmfer+ukN9Yv17KiYZLIWAoe57vxGXpdeMDX8/Dn4Oob1qCNGt7NIERXJHRf0Aiqx1SiPD9hNgbAcO5inxwCPcqBLooQWCejUAPGNLxZ6JMdJbOKjplsYmr6/ePGsb19hUvg4PuDo1TfkQk5o5Avw9FknlYT2b2IMS0WO/59sQIzg1NwihsJT2KYO7gUywfJJM7hElC3iPgoPU6Up6JF+2XesqhjyhPFLAoVv0+V6J4jKbc0y22nt18Mj6q0JnLs/7CAdPSGxvTVxFDohntYhx6rZwTVnn93YIfRTE2mvIyfamVTP/oxrYdsmEzOSA2h/VlELf7+PxTCBNMpTjAU0QIMjRzMeqIUJBncWjTJBBqbXRCbk43EVFUDU4ax/gc0zoVdkDKn2CGfWByZ3X/bgXawtCC0otiCTpkxNvdRzNY7H6z6NRFi/Q9NvQYhaQDEeys/1AY5YQS9ErmfRyH76mIVRUuYQ/myblS6v4/cCFrrCQTutpoDcqFory76D+0DoGZvZ/1NdMmRU1064g9gDTjx9l8geW9ceWwgwLW5thG4YLFkkAYlOKIq4w47kghiDhz7TMU/uQNBEFBP+0vegEbDGjF/0MIjTabKiTR8Wut0d5OeeLeut2UtQyhzPNZJ7VnE+zS/baEZ0voDxXapur2/5+6x9Rq3VxVFrny3Lq1E5nn7RW2nr4iSxa0meldt5h+mGEams9uJICGRMgp0mhMXRhlfKoeStMaVnlwxSqMcJ/HUwClPwSAnmzA32Q/VQsUF4VG31BjlCkc3PdTCKmT3sfJCdsiU8gb/b1I787ZAmlf+USPS5SKT6pL9d7W9PVQWZh3VGfq7oyEoLpoNCCzChZ3NCJgrDv/NoXE8wWgCa65DsXVHbO/TlwhpPYDEthS8DHrEZ4MviBB/fN6tqQS/X4JW7AtQVQEwEmEufp7XH29qhsmfpwCJX6pwE89N8g/77owrcnY7MxAq/A8MBXU+HRz0fcrV25y20EVhr3UhsU0AHiDK37z/2+QELH5qmYjhOSFZ1LcfCJlu9WMKrr4hpiRY3EAMDQdxvWjqOZ48nknfb5kKNITxR9pY+J7d1p3nXl23dRIdH22tQkoi1iCt1IzsVhJn1FRSUwm1PHJHjmdT8B/NRgG2iJOa1JG4ZVlWf+zdiT9wigv8pTIMcDPgzU137n28QvHMqBfy0dV8uEnkx6bbddM5611KSVKk0xiELNm2yO5g7RWsECYu6LsCdKhA17JgSseJH0ZcxmLoBgcPMS3eRXqf2GHLo6RCt/x2a6V8BCRBv3vfMfUIPDwZmcG5PjgSYR5kz3e8JKgPmG0cQT9me7X2WN92LkrO5KWYQ1JpawKck6Fw2tDl4ppWTY9eUoQdDxVOg62njJWk5hRNxcSg7KjaE9iZ+LwjB7GJNsXhKHKIBqheOhmhOw+wyAovaOQoG42jPrr5pUcVM6lFZLUT5hJeLyxICXxkZ/AU+/QgvmYDvRsV0ZkhqHDpg0CP54/58GUZmY+5g4M8hOvdtV8W8qGK61kIrvEgIWFxd0g6w31PKyQvy3lskjevRHLBOR7nZbIx17NzC1alf2/QC2cgnRkxrXZHPgYgqEC0f1U8L6AYDyNz29jB5eXK7k0vN7j5f8BkfD1nWi0dK5V33OhCJWmzi+prI2O/O8j2aXPh6hhbHuermPuBrRF4nOGn2poXAzuvvVzrptes00HN1Z8FwQ43FXr9VPE6S/XJqIiuSlYt/RfOC+oKz5lOfxzYz/6YrlShmyd8h6/MHEaZZFeqj+fElc9/xvhdk6CYdopC9gj11iq/ke3HOnm7D8SUnNCIoiWh7CxPWoMd1Kpl0y2V2W+6yvIdJbBE1xP4Y8yOcKvXef7yPwe8ldilCF/hCOVO0SwqlcSL0JsiozrhWu3+MQS1TJlAUTMbSYb3mIkUUM31Ni21hX5VcfbLh+D0H0MgEvXdhuk/gB4OU0lpHHnFqUOoRxj6WfPL7y8BvB6kSa8yidK/HC2MO1hFSUMWNbs9T/FWFOUpL11Wl9c7O8A8lDK00zJqM5PZQEo+G1k5VVua3Mc8cXIYVwEGfLNV2tpJVoWbMbe1FUiuM3XNRZrhQnuh7zu143MG/P8rFq8dEkUZ6Z9HIkJp/EeWeSltWv9WsGM24qhGVlcIfHzSix8O1vvNpYnaGHA9MIxl8x/JC+KlFEiLoXtN/1fmser2gnv9+7cJ8MQdH3yPuw3uWajvGVOBimUflSpQqbUcEN3QeRrLoYkyLS9gasXhEJso5rM09gxLz7koIUY7oEB19AXJk01RBzJTjiu3wF5xp5BznytJCd1IDSrx04C8wSILovxRKxHrYxWie1nwHIkUksoncWPJeuX048CWMUGxKfGivGKK7fNSTHxizIrQGyUXD4yX//9ki1Heq29uUTkZKZmDwIVAaOm+344L8KsQwKWY7s3E+v5xNOPQxItN+iLu8jsb0SqkY1Bx3TWdIokJ9ZdoiCTaUTZJecCADj6lHu2sFJySQBxnCI5K4UEc6UV7LDPwgbtk1XCWQFnPaxzxxvjpj+pwYBX09nCrG+ZlYDGrpkXOkWPNPXH4X3YmLSeuRzopwWNdf2ijuF3STO7os/Gvs5b11yzoUaRPcrB6ZuvHuydkiQAtpFVJTDbVTvvL31srPpTIFe4m1BpuFbJBbRJg6RpM3JVYEBBrqBCH1PxRlLGN8bKdiRIIXJP7Ip2HWv694H882I1aGQR9yJNp5dwJX+b3QqotvUVZNFoZ/rMuWwcGLPJOxVVbialbu3srFMyXOl6Ts7XtXGbhPZMDJjNY4lR3UqoKEJdgnTegKTc17vaAQMMPGaJg8AdbPkn0rnajHQ83boj6+e2tdr4BRRHSh7GCgi5Rg9nV9GHdAKrNbu1geRo8c8kCksOY7iClhIZfqrm+JFr9iVO7L5TQCKZCopqXd8nw62XiY2F7aFdbj8cF+aLAs3cPrRcNMTANSWRkpIN1hj6GwVA7ntsilc+p31BMwr5BllujZ1oNjYFPTaNbiQbYaDqsTdU0XTdQ9cVBgtWkQUMGyrRD4k9z+adi0sGOFRUc3CZPBWONNjTCr1mXjVCzzNwLR/fRoRCkx2ww6RKOmeSoj+3krUquUh3Tnufw3TzVVr9Ehbj4dvGwdXY8qvP6IoXGNox18ekTk4Lc6SeojmcPHgu67ab4vtNbbma1BrAQSVOPPzrzwp3rXkkI8tlCX4M5aqgbyCM5qyTa/xnQtyvn+b4+HCNOQkpyr6+GDNwxaqF0PdCjUU1ecbj/D8/2OPWTVXURhvBjDBVzMoNDcERAsZVFCVMzzZpaVn5+U1h/g40zKodcPuUTFHNA7e0NQi7q8hgSz9+pnVTMFQKRB7cnYRHvCYz1btO/xDC9c1GwdP/mNN/qxaGySnQIJfTPqx3i1ufUdIhfceqxMEr1btKwJzqUtGtEqJyM7oMIPpJZYgiJzgm+obwv/+g0uIMrEl6OLb/Ms+urZDS5+oLNjesKXnEO9pgyqW3p5cHZjH6omioTXIEU3E6HmGPX0/YEalQrhHS8/W4QG4pDH4EAXb45tJQemmd8WF0cdjjwhIwol6r1PzBYyl7jA1A8PHAFRuJIqpfgim7yjK4FiyLZVX8pOmuzabLkHoFOBLvYtEwQthzWvqaYnj/nnetluGNcSRXQhk2N8IA3v1LxCUGDmUNjYcMz2vHgOk8s+Ba8xvnWM/P24NX7HB9ZEvVpZdDJC1MPkY87nICxAtMDAGhrWbBceZPoAoW96f5taBcNyJQ6l1O1Zn6f8+l5tFD6JzGVLcTaHUeX09zxACO54TierwVpzg3QgybPU9kdD5slCCaSead+7s30X1BnYikbFbhuyW3rh2q+d+WeOtUblpCyieqlIqxKnvge8EqM2XtCXxxWbPCQVLDjSilEwOJ5S5kxSFSmBpQch/IWpVKx7UHflBY2Ie9di5P2kCLKm7Vt31kbfYpl0s8wMuluDv3BeFA3gRqmwPpkUnw3W7F5iKnop3GMXF4ZAEpg0syaIJmiY1R7CZfLn/HmI8SeEdC5WfqXMUf957+iBKw/dxcpzzguPbR/S0pCBMu6btiDr+pqq4JaZ1Jp+4iOpTvEocdlPHriIh6ZL3LUR2hpUWVniDygDrSdFZ8Gn+z21AMpU9LL+NJM8DC6foL8EYjI73obZ8GSqHX5XOCMlNw2/MIw/D8Kuny7w//nzAgSHPsUp3rr7+TWmFmumKss15X+BatlyeLBauHXx2XAhqpBxlHyai0WFRSKwJlv17Lv6CfLvfn2CSObKGuWvtxijr+cVhdKibiYS9ytO+8O1Vwg+f728NQPbjWHkKNEICj+TeZIE3k/IGS0fh5CIKDq0oUcWOfQBQ0qP50kkDhRihWxdZ7AiCU7hnHySBnFWgJI7PtCrruaOis+dctxcU86VDTbnSa2vUNNiuxzPb6sYzYgoBtM+EZqDc4+pSY7rMUMKkTj22/CNMz029Xg2+AXMEANYNWngIGHJXpmrh4aovnAgIFqzBZ9U76RrCR/R4BfUTnQVPliL4dC3d4zwLOiRqFRrG3ttdJV8CYCNL3LYqog8wC4hrdV6Xd9DaudFIbn3IKFU7x5K7/2HtFaOlv90M7OkZrolfdkc0ezLWh1JeW/JUBv9b8zWZ6p92wS0Zu3FlvP2rYW8PawqCW6JlyLTB1IUeED1lddUVFpEPwgz+WEUFSfXteabKF4EXk8A7twqohoNasg1CGjhCpfXegcNNdQMKUlprsQwVPrwhpaQnO9nvGDrNYHoLWCaCDK2LX7z3XlG0pWiYlP1TZ4z7W8Xj1LrX9HiNIQvIBWfgSJoqByrQcJ0JR9GzLHhbkqQF8n7GDzwX8NpuINPfmXredgr6PHZ87Pgh3sVxFDDk67WcPpQEluXuhdjnnvaMiCb2Q0EwX9RkHu84n5LuYLdclMGh14tqF9lWfYSQHx0IPQZcKvVbsGJezakzOdmtcyWPNnf9Kq81nb6W6ZKd4L3j6e6mxYT2Fpv/9RSuFdcstNz/dwF8BKztM6JPlWAf/Ps74GRw/qG1SQToYwrvFM1S5s6vDPRJSwUM+pzo4/X0RRv0jHcuulv9LIz4/mBkQG3HvSivhNCNxK2d5T+d656T6PoDm3/FCBHp7AyHZlL0+oZnPRGKCa2pCgu5pQjsHRuHKtRHKq9k7vKj0KMcVRwWmxVklp4mIjZHEnrY+8Mwzw815uLrhSd1ZMMSElwKnh6VHh9ETsBkkWoRKYZY3at06umZr0nSifxLSUniZSdQlqeaMLwOEA+KH06W3RsGNq6xkdiz99amdKt73q539b1ciQReTOyBnoAH84ufCj5Q8mXJ6bi2ty+Cj7jR+HRa0enz3TdswG/q4xnJzPlG0ZwT33aJFFavx01RYLmId4MEGm4N8WgAjux0qb/HNXew1lCsqL+wB+zGwAxX918Fc6f2kWBFL6vIFl6iWASFwJStluTUoeI7V1iZNmqk10pjV9GBVB+8F9wE4Zr7bqjekkpdHhtYR2o+uHQYika2WJMSer7SHPvoflcZ4lO0ovTLd49623XRyaYZ31GDM2xRTQsRr21JFT51syN9gkKR+ufHPEDY5D6vWZtpHK+UX7XdcPS0QW/4L5ypRL9Jv5OgSbw5RtyVpr2JZNNcpLfW6/gpCED1KmY8HZAhIOAFOuza2h4AA6mD1btVfWWwJneiD+Mt+BktNkyagGSQXTzd+6OpdpSJSP/yRDJYcoCOaozpImbtmKHtkDN7+uAyibpYLFYeXevquAqq6wzs2ztpxWWorGO+pgET6aIuwZ8OMDFnzsYH5zag3vrJExxKVELcQuJ6irUgvOystIKmX1oacwNiE7EFGLg1olYB6XNzurI61Wby7HcjXa5wtjWeKFqCBooJ86oo70IKXNBm23LzKXPNb3MXYbbpyftT8gDjUfUZ9fkyYsvhmcru5kdC2z9fTZhaBnrc3lV0Gu8bWoIPxn3jMr1FDBUbhMp5PHs/h1l5gX5nrr6l3//3ms2Q8VyM4rU4IxPvMOQdPSZsnz996oWIYnTRHBwA4UJHIckeJDtL7XBShzePqeY3X+aM9e2jYy9JioMqCALBamNld7FGFeLO5hpZOWNxdOBRWWAFBG+A0NstRDtZIERKrY+9t4QQs38PnM/egtJDnO0ie4BJ54oVZuwFyHBMIWtRDuy1vtySfbi/3+aHe5ePlU87pRcX4d4ASeEg+NNTtTbfc4bcqGVG93qEHAZ9GaveKI+4hZnazzCJokTxZPyvcst1nsp8SSTlPeaSO7gx56mLQfQr7InRMivjVGplxO89jaMpXPYOxm2KszlkXWOBIoxHMhHT6E/t7H1pQ7QAiXjIbMF1BZU8QDsjK0ij3C5SuV5nQvPeCuKVFzP9iexjulkO70mL1e57lpkDAqQAkCtNxwlhyl1QcRooV5KLTm1BlVuvwJdDsIwoYtU23LUGewTeSG+K5z78a0POdPu8PNJroPMM6EtfWEkqt30tK21GPLtDr0ipU2aq25nEWp5PAd7DkvR0QCxeohfdhjGh1WsjERmE8wORacj/7bFaAy1NrXl3rVUA5cFlit4BOwGDMg+IH8cwFRYCIX86zKOol5uJ1xG4eEOq3Ur3cwxFLHGxbJzFvgGDLnzhuw45dY/2Jp1EK/jcYVZyHKgCGKPZ6D+OfIgpl2yVDKu/dFvCAnBcTi27PNWp4Ng73ukyreb+zz1kS4Ef31VLsGqIpxsgw5kjzCgv3XFXPKkG7KM8heJmFGtYyGucbgTvC6ddlqyaalRNEntCfPGYI7k1rws1xx1HhBHitP6ISvVYMR1P7p1w2xud9D7VDbAtULDjvC1c71QNCRwO1TPeIoMeTHOaqgXzBSs3ZiHmWK8xdkGFTsz86K+ALSNK1VJFrXC2cJV36XAMLCksxdRVqMDKlwEdWu/Di0gd9+MEbhr/7ugqqKSs/UVV9Gv2kbGALDi8AFvGMURBEQEgzPkMwBb2VIo+fLOYgeoI5dyhhBVQXTeGO0sgTTWh9hWwYyfF0VkU+tGbxTDcMFBocedvhgH/RSsubL4wKjbcN34NGp40CilfsULmzoyZWFTs4pXZuw93QI3CP4kdwxeGfWKDq7JVGXaVWnoyoV1glHxYNUyIyVsxyW/5xIoy1otn9g5U9rDOU3KFlvSoNM66srtr0Y0qhUZqaowue3pQcmllO4Ji7M3dZiUBAFYT4U+f4lnnk4qJsRawg9BfpzqV6ESyMDiyoPRxF8nbF1JrauaI4NpX4FGHEw/vaF/9smQfCYp0YB5DNaqapQlrV5o2NgPXU9CLLcOBBN6LwrRF1SeZe36c/rezbXQ2OaV/MZYWWufiShqjtaMdpugK+AN3fdRN+W5Gwa/jWtOHDNuRX2jgp89XbPHMDEk7MtXNILvJyXcAKTZH9xd3XJBm8YGpTQyB3NDZer59QDAK2pYehfWF7/SYh+H9aA1rju29DiVBXQVMZg1EspKq9uI9jm4mzIgliEj7n1y8kloPMzbGVc1ahd+wcqqkPbdSWhwA2bgZc69c4we8/z/op2DSy/pwagDayDPjxkaoRXjBR648n7s3SZxCvWJvDjd3x6c78PMIlh7EzQhYDtsadK7hWpR3QKb3pw7FF+Kqledt61FQgGEaevDHTazvAYI1zgf6/aasTrf2fuZDG3+KOSjBiiadoJsB7VdmdML4GzFaHH8D7pWAIbv2wrZJpumqOb5fYdQ+RMqmG6fv+Dnj+yAwpsCWt4MUM6rH4p3UVKdxdoyc0OHeKP4Z0+JW23EQ3YxmisnQJZSuNjhY8GcOpU4CSOojpEGA83rsEO+h/oJ4WKnzHVkaEnIud4IL2j+NEU7Qk06kbon8otLaUM8yRVINXQMlKhxj/RGTXiE2vOqIEqu+T+Wrh06BXmYudUyFTNRJYqzpEtzLvLBBfMC1SmJeOeh3wV+yK4qLgFBjMYJcSipANR+XninS1LoS9d1c24WcoCTLozs9BTIWExHRShtkXFcBsc3WCQlB4r6M52o1zIWy7WTYM3kSPNuE5NvDpyySsknTB/m4weJlJHcE6KQseMP6v/ZniWjr0KKpjW96kDZEJGWC1fDHT6m2mR1ukVzH3tJUvmdY70sb8a4TF2y8OvAyufphNxSo9NxR0Bw53GZiED9D8IzegnNsTSasKp4gEYHkgSrcX9/+OXIfM7LZhemKcLL2U1qnObzdt6KRduk9CT7JDsQ9PF31MolQvsqOBoND1io/YpX1SVmapeXqHv78PtGdKE1dQlCBYevNd3Ibc56wuiJvGUEgfX1R2BiMWH4OpNoWWCznA00PX1kDUc5YqjVjabMS624YRg+0129gncRPZoQg5Jw+Cu6geSI6u4j+8aVWglHh8u7vlZFGS2HbvYh5YvakydlA4JTlhIvnc8+vVVxRP/y8H+VF6t4lRVUubrcBKxWqG0N1gk+BUEzw6Ixv7H+FgNOPXpFYvkq7UmpmEwuI7qS/F1yuQuYUFAvMzwKVDYDc3FD7OBNuVDF+FV1OpDcORr0/cz5vcZ0jwgiaZJUZnOw+lmdvKLrwPp2zhmmyK+T08uBamkMWxFwZQFg0mYVDFaNOzBxT6vLjvhwD5DzDmj/zRBT5FVw3MxNCRwfQXJb34Sk6giT+zByB/CrdLWyN/wEo1sAAGRAqyEPaQyHz/6sWQ4oj7OVJqtafwSK216TwLw067U3Z/zH9dBN9ecFxFpOK8q//5LZ0kvwTX2iHR/35YHkf+hQ5FvallqckZ2LgQUmXKyabA4lrbiJcmfUQsCIlQM1i1j5ahwGeVKmUcyibheX2VxAibEv6ksxfcqvjpk8Qw13nckOhEPfYvVP9mn6+Sv2TzgF8PPn7H8j5VjMa255tSM6sbWnD4+vsZX8PKnIiC0mpCQXUSuuqLj4GzW5Cv9yjUfMoUsu9ifufvOclGu4BWKSB2h51y2NTipX9UVwj7RCPJ78xRMZbvV+vKtXM6ZIfu9eoMPQD+uabBijXTj/BDjuPO41cwbhIGgvMKgxtJJzb2dwqeHyhpHE5LTmZCxRiOB0JVw8P8KXkk59oYOiEA1WX9qGFbrvYNMSPy3H88mKqnMWygW5ExuucnZHaQtXGayDmpiBeUYAAuQKgu8a9xUPo9L7BhXhwPP3pkVA+g8W0czT6zq/9JdwPq1L/zsteHB3cW/OM9+yYcEMzskvu3dJ3GZALfv+rHQF4VlnWNuWhiRbSuFbE3Ahwa17vw98GC0HW6MVTqoZX8Rg75T44DFk8wrCJkgs8wTl25R9F5QTSzMgynl13Bofy91BlwpEqLp3YmohPGu85Ob+jk5xvpNeqmAGD2iGh61qnLk6bKHLjGfNo5ToTWkc/ix3buHvLAlWBx/fvW1Ho706E106KsdUQ+Ghhkl1PprU31Cx5st2SPLqygdSoeBC+H5s5+FBB91Mrfo8kDszoVvu7HiqEhyM/Z18A49fR+KmdjsWPItHHumKrurMPfXR4UneirzeXerpX+iK/ybEiULu3QQpOO4A/LI5i1wRjsgNHHk6rdU9gjBPsR2AVn5CTQ2WND8L2FKAE9dxHdN6k1pFqDiU2IcYHDmMq+I2DX6F1seg6La4idMXwZvovakfRhgp54LCu7/5+3k7kY0ohiBtCesWgzhB2KDa5QWDuTyLPC0ZYOMe982+WCGHu2u5Nw34jgb3RzFqxN4IBuI7jbjSXka/Tx3Reuh/VBRxBV9JVbUJ41txswwqFhvo/G8oPvNS7iM6UgrdZXj5freBfogCnm586fpHjvRla3dcqspwWutFdvqzNWcm6ByBG/OlrwlMx25RtQVOfHMp21s2Zw8WQo+XMs1cDLSY+Ay6PkXojTxoATu1VTg9XxKnFk6b4/IkJpfLpjddBbPQRCKJ7uHsRvXA61WCF87wgm1wvXCjAWQUK20jXvj/6GW0L/XIZFV0SgJhHp2vSxLRk9Nz/Mk8JRFhb5YrrMmVYFdrejpvXgxgLNWsicQ0CqtJRlmypawqp2M+fQcy/r+hWzWznZsszf7Doyrbk4mhacq3/wClJWKXrlIAnWuN/bxKyJJFIKLrce8bJMtZSIZI1qadliVjVQnZf9Kx9yxCqy9zlmwbISvsU0qGjPQwmGuyHsDMp7SYn+aYDTE3z6YgEkFXGnzJB5YW7cA8f9HXZ27Lkldgt4+IoAiuRFjlj5L9o/GGv4aR4Cqsmnq9Oo0l2b8BCroSJE8/Ye1NgBa/hSCtraTbue44ysGHJJ+O+JshZ24cslzpy483Sh6IHPmeMs7F2eWUgWe4i8l99v4FTJXYw+uvLetoWmbYwLXFI4fGxCUjJTcLdneKdX+2FLlQELRTQRO0rMVnRtb8ZEw1SHdjW24sIJVkWkxZO7mNKL0XNPf4q1plsyCTl+bagupH6tpv1EjpevkoF6vG7Pt5k8upZoiu+wXYCZ3nKdqXceSK4SAvvoCFJac5ND7uFNQQ2ixmmheQaWyrihPEuNmHAJ6Xj3tbn+Lwl3AUQlZMkgNFQuHZbO16t0S18qM3ak4hKVAT4qs9SLwrpmffuORLxEcyPwgt3JRt+PVaILWRS4cf6eX7v98n/CK7pPzfJ6G80Wauf/bCSrg3XG8gvuLZxZYFIcpnI8q054jDkyX11Hz+7Gj/gJ+Lnu9XWaAJ2+kAxND+wH1+JVlnarSWfnlBdYsRXUZhuXgY+v7lTTQKQCAFmtY3ZAPmC3XMnx3R6cYC7m0RyuP+zIautSncCsxu375yx12NYolZOft68zj1ci9aKoZdcrwbEuyPCWtQCNbtaVR1VbMg6ujuTo7modz5p0Kf2u91d2W8EDNshcF29EPoH6oFmrYWRbiCbmw7rdeB1My//5Kv7YVdUT0f00HmqTFX+9pJpBnsM1Ed6ww73TFvrXnFND8wSpnNZ4YdQ9AN+oT6AUQG3vyLUsy/pjd5TKdk+ZxIsUzlyzhg83hsonROyir6/LqyYJobnRTryYNA+La42d0bK0//gGqcPah8+K0RvYCWVO5SN4g2J97R63WauaYJlhWlKVRzfi5uhI5NjK8gM/ZAeMqqsychEPxdSA2L0jzwe9DYwTOkepr6qXBRQUuZKiBzhFtlotQJaDcERa7C+fXu3xcj7M3fvQqB9wgTSZctafi06AqZ1xJu3OeML0iXjSjvtVhSqmAZuJz3G8tccQr125KedZe6QvCTu5/z8aAYL/KW+HaP0mnm/DXBPNExNAEbApneoA+WVOxSav/GKUdeahfqNa01za34/eWYG7q9gDnJWv13qj1A9kKO4cF8Bi3IPmTru04Cur8dRxHX44kd5mWatlRS37CbwcSjgr20O4iTtEtzPuOUjOMlernyjVduJ7MfREZCtWAYPXm41+v2+DZ002P9lqZJ0/CQOPrfm+pH9kUajNxTrNWHLxBWPV6ewVzVV/FK6a9M3R8PiAkUm1E4fKCdsBvck8D4mIN+C4O2sEdXnqRyBWSzOqWFrotxh6lwSbVdts9MVCaoVwrsrMq33q0DPBKFBg7CXsYZgaMwwM6UQ/1DP0BJ9gRBOPReub/duXMglR1VjAQ/Ms9PUdZ/RAILki1HHI9jmO6FC9ngtXGVKySax/uy7avpnqshRGFYMM2huCDMfc2VD7c9hY3pSmR0ADR39fX94YHS+hRSYDpDqNqMRhpNXalTiiHbsi+lvwS7TWK75ODZJJqX+jL8W0e7kwGmEVQlWhdNWyE2nVQzanP5+evcQwL7oyNf+xKYLQrW+9KJC7EzOBAtyTaM8WWerBjMKSBJg1PFKiwVTwvgQuSBXqRzYOHbVOV8ZfAVciqINoAX80SnrXeb/r2pz6uHWXKFQd0zfWNqyTuS+E36CxbglRKSGa7jHsDX4YIrN6rwEOfzyAEu8bx3B/olok1HvZ9rjZclBKmnGlLhP36/mlB6fzeu2U7K+WhX+OO8RvfzaA0+0rrogclBKjnIB6Ot5TsT3X4Ts3VYt5pvGaXVpAF65xfuUc6Xtr2cRe7DIBOGMSjisXRhypvbeSRgTXd8avqVzyes+Mq4exj6kn0p9M+NiEyyqWQgrkGaj5bljq0R8Rg5a24ENbW4fbI8g+yDKlak2a0IUgF/gfh2WJsjaLYabhzGLBXx/HC0FmttmsFMMj97KcIq/DsGFfP/CxoaoJjCv7V6A9XoxY9r40Wxdoim+JjzkL6SPlzQVA+47QNOOBodgNnADBtC0JHoDkW3TdbP5A4CCO4bePZvqrDnq4eieIMRyZpAzLVW40fAz81vS/pr1RKaLlkVWQhi5ufttrOt97e3NHfae4zPOqYxHvQTxmBtiigrz4MRtlVk+uJgLeSyRnxo8qAO14DJc2dTZGwreqTuboV8IzebTqLNLGN7K6X5W7tnPTc0b1kE7rEZK/UlptoHjCeivH9qCTy21kN8+UM0tZEoGRa9s1EYOi6xz8ZLxqPYxl5ld1563kzSB59IqGIJqScVGCOmabwy5tJL3kpK0QeYQzLubBN3crsQXuOg++c21Ta9NQT481XwPfW/OEYDHrqbY8LC3YdquAQUKaKm+Vy7d1RCQGu8P0Oo1d1ZEUtFKj4H4EphxbupLamArFVlze1OUWzze4M9MCnp75urvIUHq1YisNjasnmkKCLw7SOERH/l18X/U3E+JYdVbPnzCdxfo8aQlq7dessDANDR0q9zykjQHIQd7wfsZtLlSxTqVrOP5D67mclChJmQLOJMK8NxQAN24Gt+/oPRScr3ZEVipsDnjWr63v5Vs/4752U6oJjnCWwK8Is5/t45RzIo61dc7H+ebHJoOux7M+ZT3s4Jir+kQLn7B5BnSw4E+aZH1o+7lpOJV0N9pu6/orK4t7GvBPH8EaI3n5a2Byp9kaKj4lxS/ZnsAdvEgNaNKmh4otORxr8sVw0v1J1QbC6IT7tXsG/U+jP3iew8+W1gzRfoizFMXptlYQnEhpJgviD+2VtyYlp5zRy1L73AkZHZNDpwPSx1sDklOyVPPt6qwbSxR6zV8uJlWGWtE/z9Fx58ssZe1S3+gSZNzW24ezo797urF24XKi8MmwpQ6sZ+ZFR/+gieuL0MXBz5R0DuTBFAyyX62iyzvybVBQJf+IluxyOsk45DufkXM3HrFZQI61acdd24/dAf7zkv+IwTIVrJjOBwdbOhrffXUCZK7nGaRfEUKDsFEzm+7XjPBuUeqpOLqjpxsjbPGw+HMgt3qIPhmQsTBgT2Kv1neCMqULtTQ2MooZ7kx5FFyl/TTu9uNHM0BBikugHBcmSU3RieCL2AuwecCHJbps/oyJ2Gi4KO1xdOOVgLrzEfUhK1MAelOtrGZ/cdE5ZY/xZZ0cLMoEGpI7+uCcLShbsYr0biu/zbQrj5wd4+Ahhi2SJJmTEc70MpRtCUtc1Xg5ohNrwK2liyOAXwJo6WJc8fVOXL6/HzoXwu0oKc4lkUVji2FiN5JXkRvnGjvK+Tz8pnLSx7WdAD2w+/HTM+7zBgwc4oKiEkXXdIE8EZz34eqz3Q5GWZGqf7cBCeBurVl9PlAl582dH4vw9Kk0vWI/4CYV3ilBbes+stvdDgF1JCf3+RVtfWVR/lQR8rmaOsqSmz71uV2RIjjo1oLqAz+n3zVu6U83BV/P7FkdKjfB70XVkmHADzGx0ylmzj1cejyzNgqh3DUpRvOZqPv97GuXENTyY6wu9X+1WPFLfb8ijs3laAPty+C1Ahl8zsKX45KPAAEsmT31g48KwJTFHwCl+Mccev+0UpxJn2TVxtASBYU6OinI7RDrKAs4V0LHWAPJDwvFUyibKMVgfy3s/PwmgGBoYSU4V59hU0QJ1VLrE0Y6zFbNQUfwMsJGttvWaqlVRic77ixad2/2x/k7ozxz0o13bDzmJV4f0gbOGZHrnaqBue1SZR3HKKl/MMdSInyb/dInkTUzkqtcGByWCq6UDuOHyW/BC3yIdhLfRX0G1A5JuivMcE9+W0fnzi/oUIzoFD298sXRT7PRk/q1q79GNumHa1X4IBqDfrSFTbOfxa+C8Uf1+ltlESNg9tlrqS1qMHYn9Jr0SeDrkExbkVVZFK9jTk6kn5FGXRZYHD4+ZoTHBYCJnyfpOYyxIqFZL7bDeNXjYaZdY/e8ExQRT4f6z+OeG3Sb9rTk0/7XPrXnhTPHhS5y/P+0cBxW9iRWpIdgzS8WWiperdVJoAgekXo5BGtPa0GjX7h7aitMa0IJcn6sDNag0a+kIvwmAVT84A0TJAGpz9bcTvtBLuzwBdF6E8Gp0kXLEUiSO2hjpuMX/itfy2WS2+j0g0IuqVsha7Cy+oy0t7sbearnizABvigseZBvdH3UNG2WlNt8UO/NMr33FA+OdniQ2g8hJxWDqyo2jYARbQz5+a8cqGnTAg6DcgNBhfAudEiblp1mu2xqZnCzJZA47+0WeQdQlsIWP4JqVDnu7Q6SjOVOdwteGzt0J+LzTLXWjLy5fSYCdiWfUF0F1zG/gGdMqU9C/SL6F0ToAi3AQBBqcAw238NEPO0QUnFPEvH7TGCJU8ZWlEPSXkCoaHmMRaO8l0KBINUzaLECHHK6ICaC39LSwUQTQqJN1YFApfPSUsH8lXPkhTI5esXAthvWXFN8E1S1glV36BscjrZtvKXuHwWMA2KSh6xIZ+aC89AFmjre0dhAPbywRuBTiqZ76DOp1nIkD/g4Svd44kqhOwJ1TpYLgJkNyrfP1s+BkZJXfrKp71L4pSKDVtAdH47gFUFJXfrfdPoarT1f7SXK6dgbQQITP6npdSN1P8BHTuPQUU3QpBmH6EUUPpZQC0J9/GCnTdBoCLn/gekrW1alIxng31jftkkQEcNTh9liJeyYlmhfiom39qusuVBblXNfAnfJ9qv8VvSTH36F9Z85m6UtiRZc/V54uiJwkOkN7TmT7XXqxA/cl4g1HtB9wnoZrpLB6eETNZTpPsmQ6qKcyKNxMhcqO45WhYJJvSC6Jkr4h4qsVnIZXO5yIvvUNT9/rU0xlyoVk13IfUucP1CPQRLXsULb66r0LOe1PL2kfwWtsBhbrtCaSO05nHBdTzn3ib+pLveI5dvXCKkxsJ0PiKSubfdfTvrkN8L4CtpMV5F1msSYsdeMHUSGTOUUPf4XOlFb0EEiwDA8SghFKXW8UDpFK8Rcssmm/coNRPmjl4+GJNk42Vzn68RenGggHqaeRfTKwJnhvDctJ0dQiQC2DzMPFKba9TOXYbQbQed01ooQme2X0UDp+mZ2H8DVNH0LLryQf0sMgDOizwe0nsyyMGacFqU80yrUOylggD4TxnMGogRcjTBvAy++03HuDHvLjUn9uyMh8nDcdm18Thg3GE+Q1Z5Rc2Sb0qFlxJA1hldA1bp2V/Gmac/2z19iOcu1OzbMXpgXTerWqlWXgVePK9RQ7ruyB1bg27ge57gDcX0yHYaIPaUI1Lj7n9h2eW3lgNUlI//hiyZVIC3pkyAsZrUYw0Z//A2Nhol+G2+X21NFKxggSWNxzZv2ex9J1cp14KvVyr06durVY6Xej+ENPkvxoWhiax1N2zPSBDsO9CyKQGA1zPexuYx5i9HBpecU86enHkHK8XSWN0NW9HgYN2vFSDD637eA14S8CskpX9aS2/5z7X/QOX5e6oNK8DCQDQyy1t93CliOrkikptWMlVEMkclJPZxsF4obGYc8qtOODiX928j7FenSQo9L3+ae/7VJdwccqICmb4wUDBLz3iZriwt0F66JVXxIK6VNWRK3Czwg2v9qsfhjOo6+sT9rTGbsgYky0EWsMV+yz1wDPUZc/15n2J2PcVSZHGlHc9qKuq73IC/uVX7eagg3ZAw5MJHu2J/6vp4VsqP7Bjx5n31D81q8nFJLCnD2lYmtzTACWRDTJud2o7KOOWnxZEMnFaqTw5gwN+7r2W1nPWg0eWViyiazZPHdD4DlgapSwWrIPVs+SkUNr+o2kEU6i6HP8XVSjkSRKBBnNolzKzg3nMVtU0/z4DufXU9k3Rt6moDmWF3bBEPxWi1YtCkPDzP/yUSZVfuI4otryKM0iuZc8R9T0LVFBwvC+z2G4oq0JPfuhld/QTerqYZ6mq92UBzVwQ2lBVoQCfHaKJTUinXm4L3JBk91xZjBeNO0a7tUW4ww/d1ksuYTJzZ0KbMVdXYheBhrsSZeYCNVP5fTXggBzqMRvDf/gL/wLwXMVHLegktqaJuhGG549vQL4erkQjhaeg4S5S0bUEXciMDh4Sy2rqlkxX5AjIB4FvNxe7oGknMEhBFtG8JX5pu/6cEfCzrrVNP9ZxDqY3QmtG3NODWAI7GZIqPI5FTA/Hx/1mc5h/AMn+iIOV4lHaxu7ROphnmGjw+skAq/9rEToG4Cyg4sLzzvoFub72sAtsmLAkF4XuKhL23cQ6oiC/wZfUzenO3FgiH7DA+mrYwmiFbhCz6gMfHRhuYyxmyB3ti565rzJV3saKwFuuzVuUQbEvL+1CDs4+BfrBIHXPx5KyntHxZEioWWmYzyxK79hm3VY3755N90b+PuDAUHEgl2MOPBxoHLykdZZ90PIREY/gqrFVauNC8Vp5pQQIUSTfoYNGNm3vY0f130lMX4LGDfyViHsPE4UrMPG129vhedG5XCEqRHy/tS5iXBKAPdALaHWvhztRU7xDyECooSeJsU//joUrIoxsq1Cmxu6WAhchmnhA05sL863NK7nJYnXgXvxL0f21s3HY7IFlIcrUsqQvixtLsuvLsup0CUa57RMibJ9WxKkV2iAiM1bj1J5gchNqhhMRKIBTaaUM8/OQ5j7dyKkkd6EfKXVfVhKW09/NXgG2nG4OKPbZeqyMVNznwiydwzCqVQudI1MzVqnywwaFEtaMRHh+zjWkRhgSYcwMLzNX4h1H6UXw63uxPDqj8wRabjwAAjr2pn9pS1BsTKUL7ai6b8PLjPkVXJM5mLFrDs1N9KtLdIE915CfYA91e83VAQrhsluAOf5yLHg5Ymepz7nPfE6a4pNgFZjYBcnIocfi4byO1xp5bausJrbXQW2PVEfosfgH9UZmEhK+CVE/2P/d1QVFQpLu/YwzzcP3NsRFFm01dhbYxRRutHBQvFFis8x2FblbMSheRtRUxqXsmDAQxQFlAOF/FgvHccWxE3xqXDQQ+rOxKe3BIr1C+59v4qDMxnPCo4ayiOnQortjZMRawt0UC793xQPc+j7BkxBnrFlzEhHjapnkChTR5fm+mGVWzbjIh/hjGZvIgLGGb+FU6rgZTsh3K71eGC8r2R7y8I4su0QIoMqgYL4jh56XA1RLgTqgj56h8DdGA84R7r6zPfSJdLdA0dyMZhzd6cdam4MBYee1JykhfLsEKS5kBQxHowj+Au2WQfLaREx9SYhoCiuZC0dte50E1BhVfVdsq5Ha5XmkuM8ro+VTLO0jhIz4LaIYCI/YJXTFeIVki3mWOA70/TYhbUL3VkYJ5JejrNxfgM5/kea7A95G7ekd4vPNkS3GI72aiw8rQgkSOgK2OwAUVRIs74BgKn1kPM0bVyPJ4CNIctBUE8F0VgX60TtwaP3sX9DzeMF6XhhDjENfbySmpUcQfTjzKFr1jCDdH+QeLhoMyk86yx5f6SK88j6pfYk0zDDPnsTAp1x5+Mdyuod9SvDhJmu4XZ0nJPGhfuE+e1bsxjihEFNJvpIwymp/GZE86PnCIyvfn66atZIdicRT1oyZ+vv1mDXVLPEQs/0h4Yia+8bXAqnioKZXzicPUblrC+qO/pmyRfYy25rE8ot+yWLa5sf9hqLuqLnVKSmAxP4IH77CwQ0DbOgrBoa49pxtXuxoideJzjc0BGppo9azxCCSnqnNOGWWxpYZyxEQc4F+2ahn9uKUriJ7tEtWGbLlfx86UPWF2BZG0PzeklqUD4viBR/WKcb7PZiNWU6yLHofaW/t5snqM7QGgpQeVxQanWQDthon3oZ7T6atfthyV1xrabd/iXuCBsM+kX0v9u9pULweZjxg9c+EyrJC8qbmUZCJD6QMz720NZJtKjC4GPzPddT4BU/7AQFAHsOcW5BRrHga2oyEfTZqI5mQLm1WNIRCR76fVcl2pz0vqV+qMhDmr54ZZnlRl+7wumUbLvgM+Kl0P/9gVHWf8yFbWZjIdG9mRmt40JUvS+pdf0eWcYTCid0OTLRBOHtbW8SEZpQdXyzL2M2T9VU7yw0b5n0bHZWy/j4y/TK/WuIkSM2OK06Wmy+UnPMpb7+HfclICwdf6f2XVymjCFyyxL7ATiMlaQvR1uF6x0NkQt9eo9UVAgKR56xas/tovZ6ML7bI9PIYD5KgUOi8PPSt6sNBnnGXaQWNiZLaWffKKIWeNuzK/9x29yYafpuq4812qjk5i6H8Af68Y8FHFB7asuh7cuiqlJ8O8YE9KE9cp0hDbnu/zdUScanhnbiy5MvBuWFaEh6XlBO3wdf+O82da5ehdxyt3RoI/2aR2DBtDs9E2L1VrWwYgmhkU2Xe9BYymIRxD6oLd0ZQdIhA0bVQfbHD+7YgUtqKJgjHUr9LVLCiykVi7ngIUCY6aVUpdnsifsSArVYclmoXPD63deshOayOCvqiTAR+iwURC9R7UhSqKtIq5RiH/dPSBPZqveEuFeXhq3xYVrmqiaqs9lL0+v8KJII2YqnF8G7xNZI3IzA7ew8lJM99shzLbOma9fEN5u5YB8uHsDXcWdpJ3stVKh/emNgm7cy+ByknuAjnoXWVXvnMrUCOk18V6uTYh9TnK5uAJanV0EQOuZ22JxmjoI689GKi7gaRo4IraTfu7u2/RoTFYYEFrsMXv5XbEj8MtCA0W2+nvRwE6a9JQobM/sPXPc+KFzG1esRpDDtKnpDGJR0IgYkTvOKwlvr23zPUvnly+d+Er8FkOBgV9ohan/b+V+ykgroJBp0kNEwV1tqMifbZyCDpDp80CS9etbo0pjjYYkWTOzHVYfCp0uMH0Ry4sUkHBHFvUsWG4VQnqmfVmRBzUsNU9EXZjrNSnZklRBwVtQ6vvxd5Q2pi9iIIAQCvmZSpfuZ+YbI7iVeCYZ6/kDklUqOt7t3OYb4pVo1Q1dgoy1mp99mUN4viwpUJWrJ/cQlpcGuYsplK6o32R2EyLFKwTBwzZsCMH+eNZAzMPkwTm+OXYZ4fUN0dNO8Gg5MvybahwoAywmtcIbfYL0bmCtAhIt3s/+Hy2RCfeRy8Gxdsi5iehLhBR5g9J53Ucwq7h5MZQcf23qiuvJgJMKY9At1T4OftKTzPZE+o4ZJs/PinRvjAce24kfRrNcXlVQ9sPifFeitoZffTqamfD9YmqzTgodpwu2vJPfasVY3DA3VWAGIV5u9s1Ri+LPRyoL67Gi0VLUapo8RK5DeD29Yh2i05PNU7mKFj5SOE6BsbsIYKPFTCt7qGzzzgHA9ZoYwChXKnIuURD6qiA+WVG/h0KMvZ9rzdGRZRj3YauA2HP4Nn9AlPUI5s90nrua7Xf2LJs670nC1JIbYiLdR3jDnUOlFi1r/c3K5iPzvQvjlqi/HQxuOnRqPEfaNGErWMcQUDRW+kJSwLmQMMf5p0Jj0RHW6Rgtxml/w5lRK4NuTf2ctpdQclNPNlYen8CDpTTHXzsZPOaWpiqaLQQU4Ukvpe7r63vmPK5uQ1YMkS/l4gsus7PxfafW880TgqSV6AC+uzLJfQtUZzuD+cnXFti/OP1wYN2M3fjqtli+RimVp4HUT6TQvxDN77ylhD47+j8IiVkpwovslwQj/4XUGI0YBLdSFv0T5bYUrsl/O/BWYj4bPOcob5QNfqWQ7cItMUSi7Z/IoDTgjY5CpdnnuLaDbaltOJ378cTRk/3RJoSuWuIdRJlGlRCjxQbPYoIVPKTTtqRNDnT1xYgk6bxB8Ow5rz1NLx1CASDbiiGdCTXv9tetfg74+7asoJPuvJ1ZB/eLGUucNPIJXleS7RToj0ch8VmlE7mm+DU6diQslO5sJ6tyHy5RNtlTLD7CwLG1c9s5SAthlxE8cugbLTJIZuPkUsT4bTtRDeXq2+H7RvtkQZP93BXlnEPb22VqoAPxiBxq84sXm8TUdTBQ9FWiLEADFFvkzFub+SvxI3UO/5RoLqlH712iVRshjdSaR667M1P6+Q4jE8BSuiNoizwz6JHMINJh3WXMF2FHSdKCmbyd4cTf5Bd/ZEbVVpIo0OH3dsBMv1BKEObPWjk2G+Ujh6JcbOGcRtJ6GOnDt3FsboX5CE87J1ITAH/ct9zQ5HgaavXdsAQXEqzdzf176nrzPa5ok9m02PqTg5RJhxr59L4Nbt0uDypS7FXtwjzRRv61bzcROxzu+jKdUAd4dQ8mcjHq5fK+PpppuPSPcvWIpIdpXo1A4rNPCV6aAgo+aNFeM0rVUTEXPNL0pd2Oap6v+FelyyuyJ514OQ1JtR+DyO47wEcvgt+BUouA0AiYoxOceDRzL3DHw9Iz26JQn1rTsk2wW7pMzNkcmSfYGBkxefqDg2STjK0Ed2nTBiAHaX6v1ARhq9M83mIXukhELHboKzGZfkNGmov5ZH8l0EdtiJCbQMuhbMiMLonrPlVkNRP5IO8hqdncVvyWybA59MF9beNGspX5yn2XQJZlRhUI9LWaKBjgkufFuzdo7lqGghqkmA6wPJi0NW3KjM069A/lU3nUCpkAIK2rXtVhsaiYtrMu13pRHi9rwg3EU5DmAlq/4wClMRbqkK5mVtuGVJPTG7sFbZkJL5nDZQjekFBZBWLWHisRi7wp/Og+fMvz5mNnpLUcM8hHCnfu/IKCXakFPhwSOHXi4889ZHvG8FXITGVN0CuPGGU5Milkm7zCgMw21PVZtCwtKzzOMtB4JxXW2U+ook0Qb80kWl3xVq7RaOT+9veFYQbpZJjC08/L50AEZHf3jAK4dMRdvtudVlDrxGi06qLrZfqumdbvskU6qb9zRyV+pve309TD1gpY1Oy2sD1x8wiFpwiTmyoel5ZC7GH3d2MPu9n0UEg5rLCXkA4ou2pwUJ2m/s7C4Brw1ST0q8et+RXGnZJSCquYrvqxwUJhUyWtT5BXfFcW04dH6ZiKwpdXNrbZ0FpiEiQAde/Yb5jfg7WtuBJiOchM8H3UqY6aKr7baUuGBXeYW3f7DpUDODt/D/3C4rxULx6Aw/62yRtnHZAOl+FoJvittH5V4/avBr54Fg2kwsfttjOGEJn+IskRUWgMfeYGSkU5OPm9wKB+wCRyabppPXmvvaxZHs3jgNJFBik0KQvRF+IJhX0GL40kF/1CoW5tdJaP41zg/NGKvVkzsyuGgM2ASWP07/q0qvyfbn/p6mEWFecAwMO/XDqZXBvz5U4C1z06YwV6NijE7eYfRs34TPvERuYwpFE36mZKuW8jnhRLRrTb4Npe/+7jj2wkGtZuRpW1pwjvZpRE12Ty7Fvay+hjQrq/VSEoZ2EkYa5QIEDYvD6eNmwGesYKx5zpFme1liKwP8AX8pp7cR0gcyE30WbiWyaHGiY1KfdMdPp33jxD+DNqW7kreocl7/oHzmcGYwsEiYZs1i95zCkQnuB5INh9PztkuQ+B/cWnwLcDItB0fkR7wkbGEUh4IFtJ5LJg6nbmZmWiZb8K/5tnhNxi743pulGR5/fUIQ1MFftEwmUO6xqEBC4v4wWtI8Iq/JpK77K33OXz6rD5S6FteFAUypIvCFYNU1kk+VJq1PYIdNNKKfba+xQDMKS6Eo+pK3JR1rsjGYuxWNFwkFeD14L925WeplNvseber3fNwwagYDgMOTVAlZO1qgp9AYwwOqib0qIG+v46iNEwX1XdAWOhdAZ1HRbXNtqxjgDJGEXPjtOOEMCg1dzym1nvkrG5jGdu79kvJwsgbFuNHIGiypL712m9ou/FgNQEhe8jXFldUdJ4lwoew4nRf/Svwblok8mFMJTGSnbaNQgPs3M+FGzOn9uSdoWjjpHQ0kFoBtLHPxwfjpwy+HA88/oZNHyYJHKkyp+lPwhvBbY7JE7/0UIcy9MhxnbMFazUn03AiMF3m2XAICy8U1pG/ZqRrbfU8sQYgJZcFbF8lldngMLDPF+vOdwOKyLe5irmRMWFW5ZQH+BP/V3pKrT9riL5cSggxfcx1SOeCfNo83wmhpoAHc6QWVjzF4N5w8Sg+bJKMTxu6QIq4o+ucmdKXgsEUhy048+H4jElnY9BtPgf2PQAGlcW6SfP4ATbsDtH6CpDPMCCwDFwf9uaCllt1efZm3VReVHcCL6YWTT0AiUXFSnTdTTsjiXS1RxKIaJtJ2u2SqfUMjBcYCD31D/Rb7i/nJiBVBPgzDBoqUqHMBxVBhxBW36MjeYQkYstyMr033SDZWp4WhF0GUSs2SORAALm3vJosaaZta68e1aSi3VEC3tj0rpfNvpb04YW2ETwrvrGo46WSgmeE3xWlEbinod+0xBcz6j3OjS2/OZ+jOFB56w1YgmYXklmc0nuY4ycVz9+s8eHjfywdNxg7JLZdrptqyztGMVpXukjMF/uh8zmsc+d9IidkausbqE+sh7PUYdaIMQTAAwOBoZS7F5iJ5PzShrDmggzq/b3lGatQLzJPWnzhrTj/hnjyPdubZ/mu4dCdL08OQHH7WRMPSN7So1SX6cZoHakmX2E4kvth1szrVBCp/ipkCiOlosYVQuZSvc7E3oPehsMvCubrmQPnLIRiTYk8o9Q+Zr0gXIKcwWSDKaP0R5A+CQy6ruglKBo0H7ZOXPoJEde4RghpVcI4j/jKDb5lpvB5BNmKWLGvIEEmeXZqPtJn1/QnT3yyNhkCSZs9RPom5Ozz2HgAOep4N7dIQYwj1qT6UYXdpN43sjppo3Cm/psDd2glxjRt5nER2TPWzT3mMyY8VJqcoA0t8NqZnOUo8MoMqG4DVYbpoo4xpwolKsFRT6HkNVcDQ5nWjecE4MjgUzpSn4YbrZW2c5z9MsF+CjTCQBr9awemDKPzDHlZ12ACkp8j9+hRz+2fZ3VU8ymdoguzMmRQI4z/0XfUOG7GnRgugg5fF2SpDgD4qn7r4Q7RxbtGzdXdYWQmVoC385XxnhiEztvLOsEGVq9lOCdno8n/eEH+Zp+6NsPXBYjKy65LrNqyBk3rmCGip81UYNImblZKYnLBW4eHQved4tHRHEyuN9EDWRJW/O0bRMLKz2VNeTl+7IPAznIRudmNmk/JnPHSPj3vn4iAH+b4n5ObEC6YeaUcyP5pu3LPe9wvId0NXcROLt7jqUNMW9RF+7QkpF+96aplZ9MUrKQfTP6gKwuFqi81zU8zNhcbQDM4O9BFIhGMQuQVe/qe4BSVhMa4ELxN0bsoe+re1c3s3qmSDXNbdbqmHnC3BJM5oEYw0Wi8BSXz5JrNHYdqjWU8zlyWYYJfdYYFri4GSZVSEBq5XmbOcguLmaLMyD6sTwoGC1S+PUDmUsLUBJ6HhSfVcUi0ppSUcgzQk66p/jPjVqm0COK9CtY0LOpo5OLeHFevA2ab0aTdyJD9nDalzaUuS74VSY/Vb7DqK9+hTww85C2cKRZOCTvlK3G9OhvMV1H99dUMx/aV0ZF6GgP3ThAfOdMwY2i2dtQZGqkjZuCQFYTwDMbKGPM5b9zriSp6rREIOJAbHtECPiX2bdCNNWz0utQ1NiFjGHtV4af734Ad3o+TB+e45IfB5CaoBk7RLuEvstB5x13J7BmnKUtL0KbvJLC+v8pvNwO90mRszXY4AQeho8Y83R5fgsskhYfLXWazigdSrGvdy8xy07n0JEuZp0pwuvG8Ytc1XJcMtBuRfl/is65j9CnIZTQzY54N3YwekYCQFgG21Wqt6hnxFq3k/9o48DFw7KYWPiLQLXinKvzQ6sYo2Izf5S+IGToq6FJNa5FeP77HifKGWyLjx1zGf9DXcDy/OTms3mmz0KoF3m7a9kr8Ph6UKuiY0Txn5vutausV8AbAw3eJ2kYX9Gi+7DyRPmzNSvDugJHju6lo1niVJaUM4/N3JFwLQivFBkw7bw8TLutxpGHQZpfQ33/Ox+nPVtK2hWAg2RAfw1CH3/qR4UJqZleRwT8bnNO5B+AHzB7a1fHjJT9QBUYUhYbOdj880y2xRS5G9d58DtVdJhPwSDxozVo2lnohzLeMsNLu13GW2epemoEuMUZ14DzUEZ0rtSgDKSivmEMtHde5L0ltEixXySailVdoy4D8eIQX+jhv2X0ofn4QptWVFKKpWDbSRia13p7wPr4hnLBvITFABmg3b6UCIkmUcaERIbNhBVAkST0pQYwQQTfn/UZOHYmT5aBlLYzl2tjeTcfFPmacO9/AHFm341h80Xd6AoTcVZmkg8x8ZwEgA1IDxgsdI549SU75lbVOJj4xwsJ6r/lMT8120y/6cHs2Zla9YVUQLYr12BqYEnouMmxx/57FdYKmqxHvYplP9xIFxfx0b1GOVGLhX6obwtrDSP5azFMvuX3ax1EpnemCaFCiSQr9jCi3DJSfL59WWvmipnEk78ctJWk+NG/MSUZoglf06Pmqc1F7GfWHuwmzaFl4RtsCtUJbbFpFdcqbtF1+HNKFzP+3WO28ER1bATYb3wKRHT8vhSMytHcWs2ZZVSxyvdWCY/SGBHl8wJvspejtM9G/PG9XB+0kD7RoR3zkEXh0RXqzQBD/y0tna7FcOa+3k5/jQt6Gu8HMI6EqnUia1rQIC9tpiIL3CPlJfGsVtDhiDDugBi0NmrYvKsMz5Ypd3NwyqBGddqBvNDhKvxsgiXjkLFulI7PfjaJpQzjNNiv+OkxTAaFob7+3pimpaofK3XiVh5vJVOR8LEqRrlvBIZlFVnlPtF9dnD3rDHsAMPmvRVbMZzak0f3mVHq5ev51KE+tsb/EdUXThzlK4LK/SfiA1W9IbZo1y6plozqbso8+fLD6s5AU+DtzhFDx4qNFbgkJScIdbkrzYwYv18S1hfybyf6JN64a75DFo4lV9Gp2ZA5vChjvgKkL930Qu6xkny2g6vOK5Al9g93Nqbkg0TLoMY0f5TVr79vRfWVwuSMe3UzY36kyjuZQfWtfKvfnC9zuIzhsWmswdy3YCm3wfp5vXr2x9IE2ObGtSXcSbHLvO4nVq+xy7QMjK7rr3JPlTxb9qsleED66c0hizrMWohWPKm6bb50FET3WWv43z6C+2UbR5V6eFEwZK9L9ZmDlLHgPdtjG5Gmla3ZV/BaET/FXww6tRI4ZmxRHRwUhLPYMOe7pIYvYw+YG9pWRz/erzFk8WLCqccvECpf2QSu5jiInoBAKeD6FLwF5en+PsUHiKDGfr1qk6hQOQnIsJncaRinKJSdbhpnbgvDCla8Lhz+XkGaShCQEv3BRXeSDR14HTEUjoLM0+KR+AcWbcABxhQeX6k0pWlCiDmI3eBy49jvNWrXv/ShADda5ZH15Fl/Hys6XH96QH8oBjHxOyUXCH/mTFRKBm4ApQFrkeNB3ZGRkVDK+S1WfHhLO7/tBE5nloMtFuLfPefGLEfxOPaFBwg54GgYnTau0YrUNocyFHd00sn757cXFITx6nHZRM/bleB9DGzLFdR4au7Cg/WMMdZoHXgfSaTIR27qEnMf45wbAi7Hjve5Y5MQlp2I3nZXlmdN3wD66QQ547kRUmF+JdZQ88pwIB70UeXJWIK2G4TwVy4ydNeMLkEgvsk2asAWCp9cXksFR34KSMHOycn0cGjYUgfYGUyC2sHbJCuxiDaoAx1ytrEypDp2tmKZdF0XOpeqL6mqnLN3Gggr5rA6a+xJjmHp5MLzZLQ2FnornM8cgsUJxWuGIakTJ8WedP74UenFIsRu3QyIXF32lb86lX6SMeId4LOAMm8VSyBN91pyZAbStEM4J/Wtl5dkRuLgn4TIMsrr5PkKqZln67ufZgYiYlNNOGfAWVx3ujK2mLwYgkZPXWmcRNWLWdGhV9/vm+We+3mbyv8syFAAkUb/soPL9Qi2eh9iJEOifp4Sd42Fj+1nEUSi+86rYkwRAbyv70kaCuIj+uJa9VHFpR/Y/iJEDSy+Z9G6mHZ3A4f+Ov9Dh1o7ucqndeIYPW8OG3n8opnFltyvr+mp1qwdzuKxdxtdfV1crHaLg1e2lB0bHwZ4ktnFmaTSBx4+bP/lNGxELawkffeGrzYXGmHqlay7kgULJzszEYNU9NghR4Yfk2suLQjq3TGKpDSZeCge7MggFYban5ECXLYrqTjeXL7AA74b9qtpeytCDcU3yqcUiyP2ZaAdh9B1ZCiYZuStOznxVcnI/obB4KLVgaB4b7hnCc74qG0X0V8yF3zQFm0ht+ljnFjyyzwKiJdqQpBLBjbKA3VDGqKz+zq9MTViVb9H61KqHfmERX/6eh8kVSdolinYg3HUv33CMC13eB+ix8AHid2XZgsiATu0Z4BYc7TtIRq+gKXfQSPiHNNRmJk2lk5+EUNgsmITd8GCgLNDJH7dH2rD7Pi8Pc7kX3ROdES1HogvI5V/uM04eCDr6YKxyeRweu/zt5xBF5HbpBiGNB8lccuSfwBiXLO/bupIhPj57bcaLRexeMrKLdMo7KMnHFStrb/ltpLkzkq9fv8u8ZzPm556+x6Jgadioz6HKPyStPs8OIz6RSR/MvEhiltlDM8x+7xpuCp0lwjbJ7dunmsPA+mQkFWETdykRMARpucoJXAe+ccPaV+fWCAXfzMuTQLEZ0W1to4GWwPC/s5vy60GgidHx5boOD5EFB0X1+ynxk3glqMmWFngHefy6PLFTvhHyEaWUZP6opr0xHSbgcYe7qWgn0vtgzjMnJ63KYzDWxAi4HqswS2/9xOFhQg4Ua4gaDbZv0+NOBDhJi+zhOZQ4lTdIAsb2aafeePZTYSOiaTTZQye8TNzPM7g5rXVJDzriAKincYPeNbacp3NkWL4/nBZjjNlyzMKoSgukU/rljWCrcRX8FEq6bFPMBf146zWFsp4lxHu2+VKQm69/iAD35ZGdFHmSWnUDlxcGPxNs4/PYjAHXG6GvF9gknEumL6fCpHs86cwym4Ve3E2I0Tv0aXFW9PkDAN47MiBIE/oFohkEEt6c1d+qYeJ7b3t6A3hid/REYiYcpnHuSFnPdhLWq/0j54pxYTX24HXZlVP0DlVGi3o4WbJe7WnG9pX3V0z5551RwzS8nYNr0igogdhXcthyv9CMyJDOtT2keVhHx6zkVqPy054axEeyoUliEHBZ2cyTWQVsfNsMNRH9p/HEWANymsmtNwgmBihe3rGrs4AO5Ov6+acIYwnQWf7cWfIIGQOKSPlFtB+IehSeTFVZBLj1Y60LSNUCG4xRF5E40uFsFMxjA10gHVoZTvMTRMeWY1g8uOmE3SY29fyJddv/3UZgAsr3z0XppTArGHDeuU6W+09r5C1n50Mr7cgDTcoo6q2enMFbCf+US/ru8gdjbD5Ke/Q8xPi2j5A/Vw5bg1gXbf+zNFgznO1yudczdXUTMV72mIEkC9rM/TQqGsEiiwQgQRvyVNk5wJ+8o7+Gx3LnGF3ntxepLpI7aqSdNILJuJomuoWiqRpzX+gjABW5lBF9dEngEWUn5JLBeNK85bKZAXIj9DV510aawX7YRdBihA6UKN4w8oZDncRXMXLVPn4yMLrNKxa9bcKJ41iTk10weK8eHst3RbIrJE0HsOrs8iXDxuGVGIpU3uYD6Y6wlfHLEjAdnKAMjA45ERw8UcKMUzPMe4Hcl3I1JHjMEb9OfDhrBJFY3UkgQocTYzNW96B8MrkULKBkzNjgUTrcnxBwTaU9Ghzy59DeGfkLuprM+14PcQ7hLMYH477pFdBqbWZ64AyYTZa5Nj45w2G0Wc3G3gWM1fw+k77nT9vD7hP4/7GfTF6Z0UbY9LKkTCwK9EykA9ons2q355e3CBTd2z6tIh1mrKUuajr0xqfAfLMuVB90mjrIbreAINl3d3e7nmBZ2ovenxGLoNsaL5uU8rhy/5/KGybQm2HY+ll10AK35EY3m14UNkxVHkEos0vfEZuSiS1Qe74nwhmmK3uimIy/G2P8jl86AF1cYhtywk0DO+01yit2P4XcjvCZXmIIczqcS3pvcRHbLOWeyUfc1me7luEodfv79ORwFPd768BsFScf/1a+wiA59lq/RFVkqNRPGDOttCUEUFH0nQO9Iy6x5jGOrfEFcmJw9+8fPKZBFF+ZfFfboPLHGoTMToIqru1aeuB2mtfjQS9ghbMB56/DoO7sM9pdjGjw4xE5dGunzIrgnigYFNv+TVGGNLbSH/5QGK/Byk7NeDCbZHtvIX1VFFqlfCKnKMzzSs1EKFY8J+qMizi73O0ZEEacJMw3Nb9+ZX7/2pJhILLwTsV+UtU33Qe5qFYlJPJteqCiac0GqkGV4I8mNY9ZxXrfhJhmDvPJaeSJg5KMOOLBVDVCshBfDz5BqxB8ey8p7GD051kHVxelUWtplUTcqCCjcpR2RQOQOxXPUsD3n+J/WbDb4wQrl0Ha97+eUqAn4mlvw66GBXzH2V68cQehuO299o0yhwmCvVne9/ZI8upBUZmp+wwopltDDIJ9wKHL+FtSHJudVjWjTteRY3vmJXJ9EBQQfA10m8cMl+/VggQPAF98wrw/niv9YyIuoEs3rHP+NYmmJk9dJ6/Ijy26D2dNhpYVsqxOKCkh0YfWsDJVbrQTlgCHjD/nC4pZRLaZoUY7Sl7kozD4px9HquhlV4YnRX6wUh6faHBLQc4Q7d8qzf+asG+lMCk/Cj9bTZAWNTAl/VCHUrAfOdqzHxBbTi+fh5U10nzc4tO7yQwjRWjlhanVOClTjZ8adWf4g7dNBbgX5uZA9oUtwjCB6kp0TgWRLR5gLyz3yZVsP/U2S0My5F21VD/qmLj00PetuWt6bwCTUiLPmwBxHgSm4X/WVoHpiLN1qJCgM9h/GuJCu1Nnf/khLq/2mx3nGOiXTRwLEnCjjjo/KNZcV2KjnHMQgFHstGDv0lWRp/5Jfpi5LOGWyrN3Odyr+09anq6ZYmYXyMCv9cTGKjYyAhdiF3YRRhDTiHZoEXHzVduPoNvFx1oIsXJ4q6lhozqK6GvF9YkAMu5oDw0/BJCHyssJ0/Se5TMbRWl1U1aOGS3Y/9bZ5rBSSDcVUjH84nYbHftjrHQQAjxP8PwKNgJr++UQOUtIKIydg9FeX9VvQ2Era4x9icOHA8KXxIcDv4scSkZfX5M2Gbl8HMe9Bv0fnkw9tTqA1/GfX9oH94JGV2832so3ao7erZ51zKc77SFy80zuaco2PlHW20HQ4c9Zlp12oLHys/zcZ5Wle6HOZKHwE8GDdSzpjLx2Fc+rOCrbTFBQtsn9KpaGHamoyxQq5w255JYjee8nrDZVqc53sdt6lsP6r7h42FOQy6GNMFXdPVsijZo8l4e9de1a02LbHuwvcB2y8g8mH/dDr2azXZsorrgJvy5fZeNPXiLzqL+TQ3XI30oRYOz0qAQZRBsfY93jr36YEh+MUTpNtHGa1Ro/JKdHae+weYjaNq8tFpNsJVTq1AJUId31HENvGTPcAlMaBAOOHIddwvcWUTtgO2jrsl/sbEP0gAnLnvF686oQFOI5hI7wVbgTdV7MbTNcl/wzPi1os1btXIVRmQH1eThGsFJpqXbcguBW1TRgzzfPZ4r4F3m9FpivCqquALeEx4J+Evbj2cLmv89SN77QeUJaC/2npKozYb6e3nthwAXFxiimz2D0AzZZyAhOFsDAgCXv8djyEtpqAMm+UifkOpZsj/bctRv8qX4S6wJvObMHvhSZnU+u0Vu0EWh7w3LibgmgbFrUecHbhKdhVbm2J0wNtbCTa8HTqdvruDk+BGGFJV+/iZ8TETR0t66GcDVgtX5QH1efIpL8WOwk/FmoMF6cYZcssTzsaKtZI1Em3w9b1tLLfT+M7781V8gnZswFk02BrBGl12ed5CzOTSuokpLnnXuplawW+YaNFEPGl6Aur3aO/pCho42X1Pfh6XlFL2YuZ9ubbSOMlKSwoVAMalXri3zstzw6S71n3CF/dO8NSVM/YjLlhn4DMRWB7oJTQjUxvEnDQ8vDtxFCZFRQjADJbxdvFVzbiknItka+GyIkfPhrZym0e65uuwyMB7pQ5KqVqYhF+1/jWBqJ0kr6oBzvBPCdvAMzKDfcVPjarrCKN/Oy13mjHFfFKuqRJTmVrg4POyPH2dNSJJxW3NG2FMrK+/MfCApVZwFcAvaFXAg9L0T26c1D0cc1slAzrIrn1C5Hm/DDoB7doRZSHch3MBikCDdDfQJKneRasS2tyWtH2HGcYNUTMYquMsezTyR9hnk9SimLNsDoWc96Qe3q5qsuQrPZ6T5chLX1qeSBxwvUGtCD0hRRDcsXrgkMeNf5pd241QEGyT33QjMpDlguilh94UFCBGey0MDllF/Pkm3PWyuYJ3W+oj8cQqtb2s2tYyRIRRE3EZdQlfvLtc+BgbQoJ11RjpqBx0CTIl6ZWtG7jgJ9yq/fu2vyZhE+QeqsDniBYSNGVc8tuS9s1KUTey+mwZvOXwmmW6GOnO2Dg5K1LDVuBbOY3WDDd+Rzee3ksulVu/mb/4wVo3Ghc5hFiy5PHFRbKQG0vXl6QjwFAKZ9EBdkCOx3DykRS1dWeFr4bS0zLswChsmpux6nAgmRF/pmOXfajs59s5wl0wCN/iTXteQvF804BLXqOMDHwQZVXm2ZPwLORmRIYve1tiiWAcCNKFvdsC6Pc0F+kyYBvExravKh0FF3QTYytHYsLpY1oKYGGY4UZTUaMAupB5J8TDnyRQWjSxQlb5S/wqbx4JQ6P8Bd8RjtaVODx19q8l7n++p6Nl7kV969wcBZWAIcri/oMS/TVYnnyIaNeAcM2LyOfWGMCx34qFvc3N4RUUT+D+0WgWSAVB+quop/R9Ci+afRQM5WHV2eOI2E8KJO5XKMSyFaoega5NK2c2xGzizE6/IfiZls5W/iAXB/d2nT4mD1n+H1fFsKdfazdQYVlhNUdPf7JZITzMZ4BtKmHkfKqQ3UVOnkspNMaF4v2q1iLIUP1dAuCUFR820THo36Q8AkhRRCnIjZkD2pzBIWgiIGng45wP4DrZSvDkZnYPq2/ZuqMnj18swEm29oohoj1h9lOFybJqILkieBwFH/kWBULg8h1HFB78HYGgbu1Ka8M7gkRo6jfM9u9aDpZiZ1LmkJyAKsBeqaEuDnS6W+YXVJJyKxzCEmswSvJOtJ8Qu/ZGFK9veYu7nAdzE88yA1QLLkkqvfLz+EVDdQ/A8xQC3alXG/TEHOOK+rvx7NJsyDL9Sb1gU34KA3fqySN2O045d1bQRHBkgxHyx47zf4CcfMCJEt/tjBeVXh61468fSHT4tT+fwpvDykeWdMAZkrFxpCCLq+kEExua25+BZbjA27EXiIvuqBxFSlv/Lja+/xzn5nuTqeJMpqsjDqhohiqumUA0GoIcCDT4berXPxeFBqrl3+JV7o/fBv7hum8YzBlLCuAZmHDdKuDAbZGGX+PQaAj8oi0HlEa2qYA18wkfGazYTn3ZHnvtPWyVPAjGzyD9zyOpvszlyZtirdc8iBU2mNr2nPwXTnhTPZ2pyrGbZXmzu+4g0ba1iJYcGNIEEuJxGtSSWJHDiy9der/jzt4QVqXp0MdsFMXrAphpQoNDtqyh7JHI+IW5b/qwfrViRUZpdZFz/fkkNSEqKqjYmZq4Mbl51phLkZJZ6HNJZ3t3bIJEc/sXpbxz7Kn356nzOryb/cBp66gHAIzZrYKLJ+Qd4MZlDF3Esh7aUWlacHUSN1Z5BrcyBQGbXAevevSoiy4FqAG770AQPDDhj6IFsa7pfpZrCDYZCmEMxvLrA8abvOVO82wTQls9AWzFzehTr9XG+ZFoEkotzgWkmXjKiIEezsUZUhyWVyCeaqIqwe9aq+1eugxwcVstJOjcGGZIDgQ79kdJJ38OzYyv7SM+KzBxACB0PB7goWPwTTAmyiCSRqK142eq63J71UtMGNpKUPtbZlYG9KilcmBHambzvmuwXye+m0Ay+mJ0P+LMEtReme0k31rjcTG2XCgy+7lJ17rAb3pfmQxPYxRSKCOQs+9lNzS8eo6Ix5fmLQLax6KmJGzcbqZh0e99O2G1rkbHK3qwGGOk8NRCrYvO0dOtMYgWFFrs98wHBcbUGfL26jI7rbYA+Zr9AYacCu/vEUbodrV49gUyCsQEDaklWv0IKoRctVfwdXV+d+6pZXos744u+Ljyq3RvUn3qR5PYD9XedQYEUuKgzdhBJQWCK09Dzf7uYZmrdWZ1bMI0rsGFZuH5+6qCzy3dTwzbcrTgLDFW8QfrRWKNzQROhM14CQZDL0BaRQX+spnksf6zWKnYGjpbYZ8HPv4yl6XMM78MaHnrbggkqNnVBHc3mBfK8jDcnPpvyXkhP/iVjJLjyZ2k060Q3qGtIDNI3aIeZYSifG9GwbGv/CtIOPGbZX1M5WFvktKfXqoy00sym3U2LYcdFKl0vV+TmKLCg7ziGSEi9AnIMFDa9DAPbRr2i17ZRcdx4GEbxXpb5nQCsvC354VvcqtOKuJ5xBlpzUU69ChDXnfHQ91VYLL6T5cxrhxXu/uxJJItkMRMKmnXZcwHBZ3/8ObcBVPmMVMIl7+fqiBVl6qj51P6zAmGh2YZ2zlwNczhE7tdJqPXVlbwlWRDVw8LsSljyICqyAvtalFUumDbQdENfDrd9jJP/0k33p+L3J77wAPqCB+FzSRY+a008n+EfJLjISwatPhDdn1A5UdZpv2AAaN+X+QEzIgbW550yl0yhoLP4NOJstDNq4bP6k1u1ALxCtZu12ZIcOO0CT1WgcicrYwyQC6bvhH7oodL+YxwpilHauAMXT+ZKMQECVxkeRQo+bt8ymxzuDdrEsFdO9hJlI9UWSBoRIeLrgwIOVbqikhhYkyING0Tggi10uD9Zcvf0LdpcdlgPHGaj/1eH3wu6Pj+7nH7kFOnzlutSi46LkNjlSXZKM906gv8Q98VPrfK8Suk5kJRum59bLHK+GgPkHPTY7xiKWS74nLIdA8NEzHUoQD2cT2ZhDTEOEMcnZs4s9aYkm++0OS0Wf9MoPu67RLQtmRmz11iMXdjUM+99lR7n9FR7rSCh0+I27gj2nSKBSosu4ubbfY41qs4X/DeT+jOoiRH8MQlNpwMsM6rjPkvx9xsAcA4TzrBcOjeksvbCNJ469//toGNBFDSw9Z8K3PcQuv1nTpzhX1Vr34gvjWOyDHUNOMl+kMQ7RJtsDzeFrd4L6iwgb1nkeerQ5MXY8zsjARx86r4hLecnD4nOE1lukZO6x3qvOSYsskzCVmojxItWnatyO9pfCNXD7jCi/QX5lLt5agr1TSInSg+e63/PojcDrik8OivCjbxFxvXfzbrntcNzZIQnVuT+3bD9Fuz9ypYi5P0ZcuG7W8NtnguynO9GhYwhUFH/neaqKEJZHBH4MJWrf9yrD8vnLEoyCwSAtKJg9UGeYo3jCKObi2YuTb4/UZCHA3xHdi3MvCCbWHN5w7vRLFtuZ6jM2lfBeEXA+bRJnc2LToOREeZLG71aafZUjv4s/iHi6geadJWzZL4D1KjjNuDsfi+c72jHlNab3mI5Iq+MOaJa6Uax9ckp6Lw57VRXhXb0hdGAI5Y/jAKJgdbl+0uBhPdHlisIi/h8Uvn+vddCZ5HZsVlZ+zroH9q6BEPEutioICT/3Rza+DqhptwT0KCCW7TK6hFkwa3Lc5kzFm3po9fwJyo8pxPn/d4im0sEM80KNnktrAT4HMOxK7xT5WUW0yniYcDNW+UUbl5FMa/LMiLLfMGUEycw5QfOjWN077IfveZSm85dgrn1V1ALEefHJb3YuX7vvDMzCWWFp2PeqcVMtHdQofzkgKa07pnj1eBQv5yvbe/Y3t+3lheRJ5IGuZ6OW37r1Dmib0LqeVefSKxoPQS+bK/IHguhPA8LD5Q9vNTn/OdaTzlztikrf9b8caYgYNWI/pyDxxuWac9vn857ylAA7w8HkJkzMyhp5/r3U2roa/K6PB/dHKVatj8um8NKZ28RCKbKp+1PKytJc3qndBd6atCdNgFBQSDhrj+Vomb98g1dWPmFvbzpVrhVj1JEmWKvoZDB9S1RUbxqUYljFx6IFqleSn69NQzZqa/+t/NufAq4HPeCZ/jR9IBHMDCooGnQZO+NXiXvH61TMtWfhyKQJgVUXZV9Lk5LAUiQlO0OMNHIHV2k7Ve7dNd89alsuSCvTOs+aS9MVRQhErZYV3b6l18bZ/Rs7klsOvh9oHYI9iteLI/DTMw0pYO78PYnQ+g8NeRexX6zXGN1xxoX7lM0ekkLjRI9M3GAJ4LOY+y7JoJj13buHwpVGfa7YsLY+HtFtokJVB0n5vQMcWtSMKpkLr1yBG/CXlsRcst5xgcutLyjX/kBqZsGZLjmE0K+sR0HqJSa5AAHBW9OF/h0MajOueOejV3W3cJI6VIHYdy5Gp3maQcBeu0gfTE0PZ750PtwDU3LA/7m/I/yU0HZ2mEGbkx35tVQjvH5n4RjAoI1x8R2eDC0ChTnob1b6jjwxT0txK9LOvgh2z+LMN4xFxaMGzWhzSmT0/wEvC1fQMhWyVEe8u0azKJiTUkP0zJqoGgETeJFjfpeHd56pIMiey2y6J5QSTGWOZo1VtPXavtQHv69noLBslAzLJZ+N3/sYdyY1UzRZrAAHJVH0iJEv6tUdpn59FEalrEA3tTwj9XlTLi7lUM6+DhEDChmXfM5A+MvwH8dbGPtB+EITmILit0XUuUkEWpLLUZ8KV/3npZT6imKnEq+pjX/wK6rJHienedCuvO6mgQSFjvihyNRdUgNL65DpJ/jI4UyLkE1u647sl95fci7OsTUt0pqLP+8fVe+DT5Tkt79R3Z1C65XEykwwVC24SoRKh0jvboWoUtzSf9LcmPBeuYnyhMGhV+0V+fA2SXhw+eqakTMXSo8qw1i5EKL+4XJSUl42KGgJafFfWn0Dg0G3H3XbOAJAOQIpK+ukm9Km9aBBhzoBzhiHzdbh+mzVHT/IOfWa5rKCSwSDKVlV/6n6c0n1jZyuKplpnNJBLPkJnHyKxDermaqs9ElbR86+TxaaKr8uViDvfQXOT1zTqZ5BGLHpn7i8yVMs8KdLysO2BqVZJmX3Lt8mtzx6ySpC9y70RHwOuV1aPF38v9YIYFrOcb8T4uyZj+4uA64FQ3lu/T3fPqLmi5yd8o9EYdl4d8vkKGI1d64wbYBGza/CHHYtWsXzQe27rn7SpIpN+tENlxDtaZ6lwFE+jxaAKaz6oCvu69rTVXTez5d4XggIfFtoVSdvgvscg3TQT3NSokktxZmJSX4Z5ACFN//B6HVOtNXaSmVwzimTnYYQNOlcBxD/idka4a/R33A52Iu2sn/14wdgmwpdlnXZsbCB6FSYMSQgufzYWzEHi2ek9LWYR3KIow6AjUIoBxpST6InijaZNstf7Pxy4yWPLwI/tYpwEP7Txi0tqy5iswIG+Kc1zntyzH0p5g2zay0ZuVZS32o3qfzx7h7wOpR80JmKWM4oHE2n6ddt+ZbuOPhAi1TNHrwAkiEcjTHxSF2y5mpo/MsXC3CnqSo3rSOIfmNkC8tU8OSqmaqieTRc6OTAhII042oOaDPJzwZzUHy57YLPzD4hmeM5um1tiV1I/jX0XqirFEoaACDBFch9pKJPJExNuhXjrrMk/+LJxE1l61I8r8Y/hU+U37OqMham1luNBSlWmVB8C1Ngs6Y3qcCQb67cpDYiTG6xTGh0FmCHiHjl3Aw7Qz9IJ4QW/wbZgHkJ6WS3EVPlG/3y1vk6vEg36N0X/Tfa76zkjDlHQQKx/2fOqzNZzeQItVMRQp/E3PcUNXMFcvJahcLdxIqC5wi+xV/s5WM8feVYe/eRk4+gzSFPaKZ2v1vrIaZdeiTkwRYXyZI5s1/AjwhJTrd+/d1Etc6qDlz+0Ql6YyCeBhBqxryrVQvhTTZQdZagZGDqTnyWfzrZlGnYm8LuiSr8L7PxO1eQxBBdpXrjjG1xRD4nXuBF/BOZIOXs1KB03dDd+R3kHkW1NhEsDpC4NpOHMd+MsN2QQxF4cHmBp8Y1+NSEcCCQ0sdCNQroYhTZdsw55jvVW8KkTT+bwQeXM3Xctl3bP2DmojZFOmfLhhblMMvPj8TtP4a3ak6TpltzOe5YzZqGYT5DckHsz/5ZzlkiILbCSgrCQfNElRMaMXRyw3Ed6wDdHuDvOQF90BRxcOVBbl3bhAynqwpExESOvFoEpBiC7kcoUJuQyB43w0I8hUWr51k9anFhi115LBV/vieM52eDNl5OSZrdbOFgY9MyE/VwXBoVGS7c0CP2M0i6iHhjsWY7oeLLiZKcZK3mqJ2Fc6PbL0d05ovY/0N3LjvO+ukka9CZarXtFWJxDfPOJaK7aetyVKWuawr595+vmdYKi9NukPTOI+KZxdcwrSwbO4F0OqfLuIH9LPkVRwyI5M3/5RQ4mlEbmcL3pN2xfIGLu1hzNoVZnq/hMBPZYc0SvKqYi/tOp3ug/7AJqOJY1H6VxPNyvBWU/o20RoAtFIijJgrDkk65ZXzXAzBm+iZRCi84bhUs+FXIusMwVh8KqWMcRz7rQ5FaOhMK7vrpSMZcBpQkv5OFprj611LDx3bDrhsSqY9BAYN6tp/A87UbEpmFBCZRpebOlK293s7CuhG8ggYY7lyVBwfU6c7Y1K13fQr0mVQTrAlWomYaRr8SPyWo7B6+zmO9o6ATfEdL71j0ZgUTuhiUzlKV1sG/PVpIn1E1GDV0KeHAMyt0NLMRC+dVDjK9M4JitE+BeGRWlvAbRanblRnjrhjRreYxLv96mVTFvA0VSgFnOdrGDt01bXRnaSSUdE8BkIpQH4GjNjDtzzAMda3qCuMjzMcdQJVMnvU2M79nzhMmhPCrCIRXpKYlkz+dRa1cpe7v5SUWG4/GbYg/it0w5RzSFhq5a4FA5zMaGOYZlHXGrazjdtHp7DfPzqgmMqXTlIq9Iilz3dS7Mpl1kP38pkOQSJHvC1QcShscx3y2Icr0z6fAowBrb87MhmYCxsV8JK375JmnOM8dmg+LEdrBjweg7lMY5wIGDMkYsFvlW8lQapCUZdkUIwKOUXsXC28Q4sSujKWCRaHaWK4LIVQ8Qw7af8k8nYorzJNeSk3qqfiVT7B/MAjPIuXRPeYD7QmUTQsK/bPmtU2Ed6MeEaGGWDf8XD9mgqmV5bAVieYLeKZF311KrZyfIgYQzzIp2kQ6c1Zy2oUoHhBUeoGx+79TQhVlYHRQVObN6hYtVOSD0KHWhkpJsg3UzAT53b/WD+DoWHo/EzvZOJ6gFmh4zji9WawBUWtoWVbIOKIF5O3Mi74IPmDNUJ7KST056pW4BG1Fuw0vIOwOwvh8JR6FW9yzW4M8gF75G2M+z9NYU8pbWJIqA/Sm9iKBovlxQdHmfg//6JB9eJDzbLxSw8e4SuI+l6wfJZJIPcZyywdArasD3XCBc/5FqXgerexWFrXMvh3NhR5VpOz0yzJGIaCk6fd/SFvBeSHOFNhzK0lpqCoARqGvPBjHucK/KjP24sOCUB2U1NqnqFpTNYD3LXrUULq/64doYXUZfu/sF/V5+ZlGLRA6U9sWShv9u0F4fa57wpc8ZlpiYLfpxV9wB29U0gjaOTP43rAoFszuB2mSKQZ7AjdQy3XTw1HzAw2e9cQCyotCBj0RQnSkHEswF/OJOpLWLptyxWShHI8IeaCET8nAMWvSsAMLQCA9eIdCLfHm5Jttb3+5mM4BB68btVWotVhj9aiu93VkTdww1M7Q7kk3fY5XnA7HsYxOMD9moc1+fi6J8e/KOS4o25odzm/pEh+OuwvRiRBa7lBKjkhOqennIT2TP5rKjZdgcyjZwvbmlJczK5ussHlHOzcTAo0BfcosLOkH5vcAl1PChQaALpIgVy4vZyLkV7nQ7mGexqmpvO3SOprLZM/oalIWi1fBhqmoU3xjtP37CVSScWEeqfoNAOY0znZmSLg3iPmXB0Dlxa1YUCibxNyvhlJ2r0hEEqoFHwDyLtvNZcnZya7h3dQ3f5q+v97zL7pxugg2VaYTaPsPu9rdzBKOCjRumhiKCDkPi+iviQ8Saoa908cV1A9gRf/26+VfZbfP+8XAAAPysIn7FylqZZYJLSRPlXVJUsfZeia7IryC4QA/ntIz0U4QXZFa0abo0ISXm2EfZMLZl5+e+Bktvm/NB2u1jVEICCFIrZwP2zgnjlzH4AxKh9wl3wDpoUI/mY6A0XAYF+t/YkHHkkLEUS5Qgtrhd6G8aDwT1S3MxQoEMUNyCJBOhi0PAf5vS2c6zN+mG9RAgihA8ln2ajX3iiqaExzy2Jq5VTljYaeouUSRu3drulQoiG8Vhi7oVHCx+eKgYCNdC3Ip4CE2r1DlQs/9DNf5gm5hZN92rXsuc0ZWeDyt2UqEuglxRiE/rXKtBAdq7PYZU3EUv3Ws1/CAx4sInVg9U8jHN3Zv1A+KmvVVsi1eWJE3IQxXK6glz5OGIhG2+F9lgyl/4fxLa99u872jtEd88lERnSisD/cFLV7Cpxq/8PCkT+4QEvbSRakIu2dJHvxI4mBcRBitLdTvWhtYTqoOiQ4CsFOTOFGvHs3qHLE+hwxvSMtMoMIeSmboMohz7s5A5560pBI3wvlnrvinC/1rrO9JO7Z6Rp5K3YKJ/JM9rEWAn6K+xzU8/3+aqrQl3rXNJjyshIneStofDWtJczhuDpRlQkRjE1EoVhkJNpSUPvTkAktj7ViX18zwezzWjtCHpzUSpRFWRyyVD3NVQw4tUvTGoN42BNL6M/cSiMYMAqcB5CMwWZTzqrNgeW7M4Fn0OoWT57Y2iKea/I16zgblthCcuzalH8OVapazTkxhmbI3DBWg2jUAkoKWkrNchipj11qMM1MooKDbnx7Rbi/6wMxCo3pznVJVY4Lc4Uwbl+vDDqZ/956ZP3NkIOVX3LbkmMQk2kPMXkCCebmF7ino2+kU0+4oPERbBLmH/Tw5sFjdSLT/ZJcJylZHCejLzRo+bm9fhIIaQ7e/8vxnTlto+OUAaQW7GxgszsZNdzuXzbYpvZ9" title="Mekko Graphics Chart">
            <a:extLst>
              <a:ext uri="{FF2B5EF4-FFF2-40B4-BE49-F238E27FC236}">
                <a16:creationId xmlns:a16="http://schemas.microsoft.com/office/drawing/2014/main" id="{3DDB9358-62F7-B7D9-BDC2-E16E86B30A0F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gray">
          <a:xfrm>
            <a:off x="612716" y="1983764"/>
            <a:ext cx="3240974" cy="4853688"/>
          </a:xfrm>
          <a:prstGeom prst="rect">
            <a:avLst/>
          </a:prstGeom>
          <a:blipFill>
            <a:blip r:embed="rId16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" name="Rectangle 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lIBcj1AhOaglsfnW7bJVNy+Enu6UK0QItpF7Lu9UORcZ4SlpnUax+QPfM/lwFPHVSHxaXXiOwGJHivZNfu3EK3IuS2PnGFcrQto7aCqTO1ypfEMgTPUReVS9BsV25ikWqDqRKg+mV6HwgncixvDD8HTtGZHyEpTAPCLjjcvOgb5daQA/swa0yE+MUHferIGtuiHQHAfYrrPp5qXxQU5FNFII4RaFTwKiHE0Qq2+zWUCGFSRUkUROJiKWgayH0tLInZs2WILj/jfWKtYP80+9zfILe9ZLdE/Els+OtpYw5v3uWWZPrOq4ECfTpDmGWg/ZuHJ/NkmgXBVgE2BK/WrCUMh/zknvp5YDFpiFPVsc2CdYZmQ6+ODB/sycWjz9qx/H4S68yXpqzkRTKvs794FUb0x1rEyicu5IFsk0jgAw8eybbFqKCaTRMSH9JygYEbH7dFsG0Be/ck5b44FL2pZJ+5JufMZP6kd+SC9R1YjcS6sHYn3z5ULdZ9heTdDHB5NmkQ3GbohIQQ5t/GtrPdK7e/SatqMFCEty532K13mTo883Fd5pYJg60JcUl0kEosw7G40sX8Zor46jwdRyCIEdMes/GM3Gc0D8CpZvJoopyNNdHmr1/fYs+lXBnGT7xWFOJy8cirVxCwHuubhG8BtLC1XAdUSKj31rx80S6xygMgqfDd2sFc/WZAr7jxmtGs77jbh9/Lbkp+dmNMjuzox7z9NR2fFYuVOQeK6nSkDq3k7+hOmkEbUAx46vsOr0el3xrXNvwIoXr1qiqTOb4DVzQZ/Ou0FHqD+RzwffBs75I+26/jPoawMMG8KhDpsvupuADhADOFlxBJr5IlXglluGnrFoOcymaWWSdlcJ0JvVJYaIu5XtPDM9IGHuhaNcreXfC/WULmTtAtJ23kEA3FS2tzvP1MqZNEAqCFsvxY7S0/gzVfoZZti8EK56qJvCh+NilCHcVTeFfj8bzgINd5w3jxZSF7KLxEfC4i1OkaYwPccdf2Sy5Gc3Znp28HUoysO2XGDWxEP9ALIdQ6U7JVeJ4iL1WP08bQ13YVv8ckc0el58yMeyWx+tsCF+caTcsXcVP+4NTlUVRuztYhsd4ZlJBWo30IxN1DZepH7YQB6WZTBXvAR3Ui5oU2VpsctFsfqJZFk6yAaEKNTVN+FeHu7J8gaLBILkiPcDIWOaO9AAtXZ2x4Q6eG/smlrycjWaHIaflNikjLrneFjS8utFATfoK23gmkm7tSKqELDMwApQytNM5UsOTtdwYmtnl5vmTDkod2Mup2c95WwXKRiWsvW6ovKXHLmjQETcPUDFl/WSzowRCE62XAliACFZWAwY2QVkQDihEi8Wvlc+/KT03IXw82ogFvHJzW8owWRMjgMrTu/m1LD2lB2D7Hn2wo896Vd8yyVc32+jKrOLIKndtzsk7XBSqZVyVoICGe9uVj1u6iNHbZO+6H9swLDd2tIc17x+322KjFYP5JQ7FSz5bTgQ4J1L/nEUepOJr8v08Xzhpblha0fjlg9ANcVHK+2CnKvJCh4Ki84xY2iCbyc4nBvuljl78q4mZFdB05muI+EAyBOwNCTvYnp+fGVcBltFpe1vneSNXwuaBGlP2PIv9F3OEWEkXkGNxP++M68Bgfa2N9qGXZIEwDQIWM28K1DC9GhoWsEym4KZCzVfAjxgcZCkmc+wUAuwSQF/CkWARU69x9BqMRPTmcxThgRjDE9gM3nhh1s+Gbh64ZL1nZB2Yy/yBOAKrZ6BJ8Ny/QZGBzXzZUQokkFLvg45f/qz2LQbbTHgRlq1h79qVZdB40TVouj79yrw6h1ltLRoamr/+CGh6Vyn9AS4DgxseCmOrgK/7nebOS/4EW0vDz1DwpO3VtNcrIATLfL3Avvy83qrv+00Gwg7Mgbai20t+FRWsm/6GDtIMRmKWeoQ/ypLC/TngDeLu3HmpsQKxZ1B4YgwESSwgDelF8HhoJiajCyy6xKCrpBdqLb91b3XQLyhjkshN5OGVfvuDrwkefsRu+Jaa1yCzn4zmhiPg3+HErNgPrL31qWxxXLd4sOzJ3Oh7nO1DKNbO/Zhdzr3Rcx19uyv2kF6WVTXPPDldf60SwD00gCwQXTK0tPm+rTZXzIl+/otKR4kJFiYUfOdHP6H77AxqGETyAOvaWJ9m9HsRkSDGvoA4Nlwyc76cjzB3rIoXOQfapwhxMuT9eJZuftw1WYIwJHqyq8PZFLxLyOyPWLJcOOGGQYtjSPlyXZq4tV5Sr+GGTj3asZDB3Eo+LlUOU8Xm6UeSn8CPEzJbbu4gNxWmtxJgTZZmH5hiByED64WrgNXS+fpQeSTUy1+RtAAmCr4cpP8lzQoZJGRI/fy9mR34q8+Ma1G7EdNm9LvnUs1oUgaRMf4k9xuSW9/Myf/l2lIoaVQ5+5Y2uykM1gQm58mV/iIYLP1UTA+pBLrpEcj+jQPKMUbxCW2cJxWBzK4w+7hRf8qUm3X8k0P0zhd/98BcbucFJ4IwvM3o3th8Y+obqO5nJi5C+5mtpWPuFx1OJONB7lj/Df1n06c0HB0mqe3FQkRGhc/XbSn347RngCfwvfYeOGTahGbdSXHgXbLSUWDnDefgQH2Mglh3YTslFFp9zubOqucv/CiXKEGgtZMDkdaJOp25rE8KB8EL+1wgxIpnmUtRzGUP6gl/eSHO5fW1UiN2CGY6Wgo+ObVPlzha0bTiiAmaAoCjROTfVgO/OPDgi11Dgd/FM1P5Ran5DR1LTxuZG0wCEheZV6ax2aDMyp+IFE+xDANfTM/3ijkbndYPgC3c6IoNeSN6cVSF6wGFLmdmCRKVlvp7XSIx/Z4cHrAGd7tCNGi0/aU4cqMwf0DEcu6HKvyY+wzydlI+GPM4m0Zd3gjZIrIseo3ELMEQt5BXQGhOCppBwL3uyzTO6/vjoEmg4ZC1Q2dU9c0AuSPLTxZLiTv+EFbJXrXf09KP/5ndQE8BYDDihEuLzZy2qjury+OMNenBwXEl0mJuyjB7RY0myAKSahXPdrzLA0rZTJxH9rfzg/hfaUHF8ViNfVaNOJpumw+BJaDqM4ePKqmfz1brmHec3GGXUVHbdlklgCTvXEbbQMZniuUSbqLTWyZmOLT+ifqPifn5bQW34KkyQEOczBTRNG5w9/tQLzRuWD0hVqcJGvSN8aCZqamIrB2RN31jHioFHzvRo/crzYWrtZKE4liJOJatGfDU/4S4Z4jvP2R99OeQ8xNz9QkHxApIf9UfVVd8dvu8Ku1zTAXzX85l8DAfdBEGG3IeHHzuzi3L8dx9lpTSraXljFYa6eBMZmYnbuVeQV9Avt1tqI3gCWHx8o+c9wvn175+/zm9qv3JFpOdwyGk+ZeSMhmw+31GcdXQHR/rSnVgr/T4ZlfdSPUlltBhwVM5vbf3Xs0KmhrSibN+Gon4Li/8c32rISrAFtFWnIcTj19BydzOTGhWEljUj0IA7LRvaL/Y0yFtq/ajyzRadyxNYuTRvHJYH9PqpqVXqf+VlgtGnQuaJYlMFs8fqf1E+WCK0gSqTCwCGIIQwLr00pKmAJU41z2edCPWcF8S0c9oXBUS+8OCDqzD413b3RHACfygW08xZQhQMnFEasYE9QTa7iluMm1YEmEO+C6Q2u+IPfE5d7RfCEhZ/G3/1YmgBPB/xpYHVOd+h9U1bP2VLwb2v/bvzY1iAQNXSInCBCXDyc//X9ufm9J8jCGzeBg15QUzBh3Mnb9Q0pnJo/SJwRsoMZHjJi91onViQFCrr5gW8i4OAcBNMsGn7BF/5GXSFANistAi70RWydnBPWwB8Jupebc988J1qX5DUTUmS5BuK45MGORvAttUm0LalnbXFxulmPcmHqPHaXDT7lBp2D1BTFBC/3EhdwMn1y2c30Qh99YetwNhHbKQEh/jM6/aQ4/EH1NRwCMJO8pmgLe8Zaa7Ts3KxDI1i5mfyPm1en1P7OdVGj/Up608ezypuWfr9gHQevZrskgTUKtYMM15hA0Z0c/4edMiRqPiLppvH391WDtvl/aA3YTT5ygky/wU2kVamTXT9buTfn5skWfWWHduFbkZzGqIZP6i2X3OtOVKrl9dAjjVo27r2a2Ri7br3+bDwDHcEwk/BlFxog08Jge6NNVKhW06xCPmThik4r1JErJzmlYnBWYiAnVNjn6IjYuXNjkIu1HFgJ/Ir0HhPI2FzrFH1MRjr8SQErR5q2Js1H2+sNKgps+RDhY49OCxaUDMi2EIbfKseqVP1fQNx8qIatK1qDleZ9eW4QjyGNTan9EqM19F3CuW4pMUCJHij5BMzUa1MjlAmqUO3/XjRbxcx2p17vA9Zevv/fH/wfazwH81AEsJHVXuWlNu0PjOKp+jUOtg47AMMPsBGZWJZbgb/FbasPLRH+uKb1QWEGhdweSOQMCspZIRv1S84K3H5OmSyylx43PlZVOkr6wy2OVzx59+yyrngyMV4ary4LCZGBJKUhNRAIYtDtxQwHC+8I4VFA7Q0nDgEEBGibV1C2z+ItS7whw0IRrO2D81yZJfBdd62lqB29lVdVGB9SZ/8hVDbdVdv6pqCxQ/Xgqp3aHRFpm9/gkpwwUGuEYLx4ppluI3KVp5UWxD2ODyq5fm0/8zYr0PVMKzMpGVsvB05lq2190xRzosDC3t6SmPj2mdSeBvztQuxOe0+npx3DZ42TPtRIX6S8N0/HbVSXQCk2Ns3Vz8iBcd92VuEzH7yqTunZ5uJEI1FIZ7/uDROeM2PX/+K5tvwSbLy60/5xUAdFH0vTwztvjdXzznnn0zAxchvwLwqiT8G4En/mQ07wtTRLoab+hGEOVywLxJfp5dCYDCgkUArx3wr4maDeVne2jMuFKMfAV5bb/wUg9dBV5k2axQimwB3xRo2XXk5UMntphzM8s5evBqZmSqAEG1ouZSaKjatWe3WXa2xQ7Oao6hcqYTEE6uzUnlGHgsGYakVCK0hJUghK4Bv+3t4AdzqHE51t4cDGB+Dt/g4B9pSZM5AfbYX6ijUqFXHCw9fZ+arz19izuU7NDtD/R9n5QgEQBJDM+guhQY0E9YtYBYzaQCUpIeD4Yn5Q3AfMRcJMzMLNiMUHVcSv6H80l+j4UrgoCS4/22OAL7eLpSNqwt4vOc+FLm8jsmVyCtt2YdKe6SwmEGzLV+MCo3TI3BLqJMmKey/Gup0MO3mwvjF5lKqzCXTUEjwXPRXKUTu3Bx5KVYKpTwqbZZQ0Uvml0QZp0wUCMCU2mwdnlhZWNLqG/itRgMd5JEEcPQvy88hZE4t5KTLyMNTDxa914+PY/ep21Vt49vyEI0hXJdbm4V+K2svNP747tl+Nnfpzx3kyWEaJWhoSCuo7R1Exmeq4y+LRqz1gjp90+xqTqRbGM8OUHzYdITwWYS9WCzUkRHdXodZJajBr6Ldrx+woaZA4ITW7rTxB4MU19N69Pb89sQSTzSI3EJZs94d6aT+qmFDF+WZwQbupoO+Iv1YsNWHGOrYwafsNHz0nVerAhHBSba1FQMImJdTgI9//GFqSWYRfkpri8CpnnYDGFEBxH7BewLEcjXRZK7lauJAEe7TIVM/DLzjFJKtSGkhR5I33ufE1VrtsgoZGRE9akl1MOxzyHy+4lUQfahVljacZm2DqBEcr4A0hguPZzuYPQFbA8P8moX9klJBxNWF36Kf/8St+0KA4WVPZ7aVxoo96LYNZ3SkObaQZ1F6YDt8JMbZLj1M4Z6tATDxkvcMxS5/EXyRDczZA3hE8D/LmSBoBDe7bSWl4Kyv8df/mCuSerqk5MrdUioQJyNhYYpV/Q21PLsZMMtZTaBGDXiONbN6M+LBpk1abuWhzA6/6wFaGILiuS/9WVVwrCWY99SI7noO/yGtmnrJuaQr1xvoOTLlX3LVxYLvpj0Tyok7FwsPzoSTRf77p1SBjmgjnVYyTUGH9ybO2bgRiiUTZwCVXNoSPfxuvqLMjroE29wXFKL9hGN4LnvqVi93XdolSn2E1JIx95SdVl5T9lX3g/nODbewqde9j+GeTcClPjBpNLg+fS/o56CfEIbDVTfrg/5RfqbHnlKcVWkFo2hQi/8q2OwSIPA967JfCyyeE3O/0i02GmTbL+1msd0yLCpwZhdWmNzGe294rpA8HZqoGfDvknJ298+gvZZtInD7lskLRZzqmjKvPclotRb6RkB5HjNiBy216jwKBPvqBE/6h/zWygEN8U/EhGjJkWCD69dlpmJU42cIrP+CNSY5F68BBczwaSMPLk0ptZDO99Qr6MLRSLW/VTXZipmNnKFSX6rUOhEMFdCe5KH2G4vcHRxhWlep1EIK19tFcNy/1PYiL3UpJ1zeJdpp7TMSBB0+jofSoCr4zFP42KkLu8KZtnwOyrZOymLoSbL7nl1LjWSujMyYHtB5aDn9+Bjre9gTC+mxgVBK0v2spJ6KgzL4eC7Pt5VNWTxET/bHM9/SNFaXYPCGR8myBrL9+i4oKXtHpepFtAXmUQSep48G72Cw3cPZaSK8F0kQaguyumR7K34f9B3L5XBXHinCfl1gVGXj7m3eynTwRdH57SyHHLugakquiibRjw8qNZ1GlMUAVB+MojOAUojUDWbZOwcW5BCk+ONYV8Fw2/FNFmaoCqfod74lIxhKwhxm8ZZzwwLpP05rkhzz2HvQ63HNN71L2ufuqEveyYGdRf3/P+SnsPHrMZJxCSlw1lonxhjN7QS02FS+UeyVlWKSkxwjJdd+B0VGPtvy5Rio39ku7+JmRIIC0nVva7d09hP868E5V59/fDwBr2mkd5qohZIkw12bz6zUO/ID0dMKYvLWdnSypPGGP4J6DBvoxWDVSMMmyVJrTYmVUu11mMcNSuZv7FGAAeSMByPVx6MuQi/9kZMJXKI1gcASd+Ow4lGrmb5n3nGh2Kw97ZMne5aPUZH082RNH7XqfMhAMcNm7/SVRtSYVmYMMcaraKXCAjRCFW6/UjjHZFh0+xYnbgFT2jtl3EMFE5+3DD2iYuWhC931z1G8otlMizCHcams1y+5r5mhM5OJ0Q9Z8ueSrrFzIRsoHooibGkAjVnu7ENnwFFyyRWJaSGwtKHEbSIRLNB8abG0hSaL9dpkNwXxDL9vlZqtgaJQpDFZqmKUbOTD7frJVN/K4ih+HEF6nN/evApBcJcQAMWwtoclICX9WBgMkuGU1H92jKvXhD1KsWUJ0PmDHgYNnG2TKJk5ZwAzw200PjcQAP3qdq/LB62tuw8wqbHe3WYCmT4QEVazX6Q55nW+bl1J0BzbgcRNXRYi4xXqabsK3GcXFkK32fcHW1jrKUURce6DrFYQPZXypnlY65h4KogAd9JU6EJTucUFXv3pLjfxU49SD9aIPT5bqrISDvQBkDW9aTGYP4u1BxkmEDz8UhRVHlIrM+KdBDfofsB1wKibYb6zYztLLFbNCwYfmA0RFo6i51WUV4ebYkXGApIbgcOK14AA8bRKtAKtJ8KSMyT67EVilT3XS+nN8Kk7ydLJ0nic3PPAcjFsRODWy8HXI6lKcnPYKXIEQln3iv3mibk2SfHJR/U9QgAotqL6hLd8W7PzyBjrsmonXMBa6nkrj+7VWmTIhgKanXz8/Kk0pe8YXYufgypE+A4XXTO5ZsPBmQ5zT57aIy4jblmbG6UAYPsoQNNvolmaEnuQNUAfnwp9yG88+LJi60HC5AN139DiFE+X4TkEhja4W0JnZZCTAdve/IifOAc7f2JO6LcIXKBIlp2x58gYIGNL1i3Vx0JnI9bh5Q+2jxysWN13RDmBsZ5sjneLfeSbU5thvI6bgm/FfXxH89zTW6lZOCqqQ5gDLxCzWJKdmTYo2uKkvc6d2R8NZKLcIfo7+HQ1DriWIzgUscY4KEhSB6y7Sx13wbvXr/h7nlVbFOyLGs4tNzHf7+KYio3gpxnkN+r007Eu3Hk+bpOkr3cG2CoAtAl3AGAAq4RXS8Ny9eLoJGJydfyPM71CTo1QSabXgGms+DU6LUk+58/wHEUHybsw36aT7LvV1T8Dkd3aDQPZZX4R3qcRDZBAMDWFQwqnxod2Yz4XU2eYfpUDJKMJ3YQprBNrmru5sgBd7XGgP3OibQOlJNvpBNmGhkMli+BGKXKLd1qEfoNGwkWmkEPIN4Q6Hz5Ni14bWL9xCwrPrr89FIXQlf2hWyfOWLHOrY1Erx98kUqHjkaGTVK/GhGFWjsKk2vuxIX7XJ3riweVywo/VhPCuqG+gD64g7YpopsPrLkwgRr8btLo5fs5MCsYZaPdE9cygh2y8n65Etcj14PPn5WMsD23hO7VAT6LeDJ/NFNDM/FswYnkWShxbBRwAvQ1an+XTwOifxFsNZLhB9PRARjJjQs03nm3nTJMM2NCVRLzPWhEbwrNvQyokFRcD5brtV7T/S9hylhyZcB3qVhs+1Z4M1VoAPbvP9p7f6khA/M3X6cMidgCkiSLIat/uAStBEtOR/se9FAqIpZ65G48mDvcSteYsN2K3v99fZAQ8ip2pqE97a6HcVHpHIUJ5PaF0e+Bom+UgVYImbQ29DCMoY2rMza3mcep7+4ZV+4BCVcZ6x6N3kmdQdZQheKmSkZkVq/UVVWG+k9VIHxn/rU+0/gVFyJ8f/yA6XXhzX+kkpbVsXEmEWezocFrhB1I9zpAiYLbLfTe2/qrVnsRzbEDhMg/NgOjLtWin41BAg7RyT5d7/LLJ9M2AuoSxUzWfbaEXiNzuYjdW7Vef4BRBLfkKiPgXhJ3YpNBimFrvVl5ZJ0f1BqL+4bsct0XuqTLG1g8En+JowZHytJ9Y4FRENljqiqNqNmAaRn9Rly+471ToNTcmxbUYovNh/b44F5e3sqHg4kmg7YC4zjsSZl0V95qfFo6F113g5nRaEOximE0KY0hpSbZB+ADYHw/89jIpHTpw9k3DIwliDDWTkxNBqXhzqBxh3Zw/tVwGRPFhkBQuWGtnswX4XKNCg59e0qdp0x6A6Ss5PRLJAq3etNWBVqrencShjnsDTqKGrJXbYmsnxk0/jNtS+MTPgNSbheaPZqFUymAD6HfRk8Nd9uIXAm3oarZtoYcKbK6uo2HWqvD5OLh3AK63pSEbyrlIQtb2IHcs/Syjkvlx6jbbn4x+k+MZLTLg3S1cKKhwFCzP7/Qd08GNyUqREb8KJ2uNYso4Re+mrquQRRlnHTcIFsA2rea640JgobM/ufpEfBGLt7E39gmw9g3LMgtvMiNlaxoIFIjzgBx8z1mDYZM8bok2l4c+jK/yEHA+4z5h6eUhLMa8OEu+LFQbPohu3HVNE4gOXxVLGzWqVdRVXDbc68IZJQiv8akqH6Hb5Lq+kT+qW0aLlPXTaIHBsRUZdPCVQ4H52MrVF50bCDUNzoDA/+2qgoDLF9zQkF6Ucf5tDIWrVtAU0aB03h/+o+2OF9bV3/x0sMXKklMRj32r+x0ZsKx2IEk8fvXLlKrWdbwzuHluIY9r34KY7jBjcHAfJK6rPY+c2+rKf357KVrFrQiaLSGt5Cl4NlkDg90FfcfXN7/4iaEjbQ/rcTZR5bxdbUocbIisz7hyIoYgp3YqTwpt5bQ4wc9jJfPJO6fWRB4ba0t/7ICxEuLatEgmSJ7GMd58ELzo6/sGAcEro3O9TqM8F5SQDJnMHvk6A4EzwyGIdPg2WR/7MDrbQnDvuJnbnmjgcnoRDo+HNWYH0ttTFQ9ijYAUIlHM3xosDJiZiOJfX0mO/WYrVIvnzPWCgPja7ZARGRReL00bg+iHrxN1w0LuJJbqfqZoJWqJknQPJ3tCl+kk78sYkbO/eqZQEAUXsVlsGOYkKXWtUzgmymByeAlqqHkU1aBooAT21+qloAvwZePGAecY2NyIn/l9tDLrf/qG4p51fKitDmnvV6dRMTRKajQDtvorS+XTqlt29I7T2obiGB8cbxpZ+5eU3lPgmPomsaSeMtU9nz7ERXQF2u+JnuJnyfUAIgByrA0LsSaWXm+nTcNhpBXfa18qqEcQZuFSL5kcUNojlLiOufn3xFnzN8rYpGFffmDE1PY8Ry9xYTt8vLUxTnJMHIIRy6k2EUQ6wIKl3FBYLrKU8eHDJvnS8aZXt/6V/24r13Zxk1yIfTWetN4GPHmY5weKlVXBwyRLCRC0dYP427gmRKzu8TTc6bySOpxHUsTH3+R5Sn+xtsHVDrEOZMSteGQDRBLaJu3GBchgdVN02T2C5cmp1u3g9mAqPUQyZKYndyDBAbTwfjShywj9mgANwLbep2txQMf7LKkSliw+SYF+mn5BfsMk9lZ8w3ukR3FmdhYXGDAvRi9QniMkw6TBbtrwRlAYg2bvC9+lpD1feShRI2MjHPCvHSt7y/TRFIhSKe9RgwA/dCKxCD1WQRT+3CjHLNE9TeYfgde9kxZR6sOa2Eu0lTgEEDPDZdw6WGYuJAJDQteWr3kyy9xbeBm8NLTFKdkrKLPUwWqLY1YGJ81Y6Q2bH1EDHQCa0ACH7+rTYn6hkZbe60ryRUN+7UxmytmRgIRkvELD3GarPXciZxMi4gbs017ZgqF6PLB4nQgp6dj5AY3IcfFqaffBH3bJ1ZcipTCXutyiCX86p0200Xmb1zx++7L6x20Gh4T0wYZe3ju6fBTcGlVTW7GRUixd/YKpdkJGCj+hkGch/zFKtW2aeYjHVBGBz+mGrUa++mY1jq7XMCbSypq6g1gMR9JrZlM3FvXt5MPwXAAmEZASUDTEqVNPaLTgVYfAjQA0efN8HN3QKjBUy6wpnNj6u10HQ3NjxuIrnlznQshSj4sWuAXO5Tp5hzqbWeUpQUXc1MFS3obbPfKI3ntPU6rM1nVjDy1/WKg3egIb04ZxB9YBtxVBpHMOfD0YkKQcbSnqbyOwW7k4AXJGZtbXyJjTm/Av5pgN7ppjJyRysIdlia2HHyke8Ly14AVZ3vpeYHFlrcW88G2Gj9MMZutRri5qo3eforXfo+XyVyRmLzKQWGuYBNyGCbgmGr0pk8aW5u7vJ7gHmf4DxV7qbu1Ga043D6tZ+Y+J7s063lwKjnwNO3c905NMceMilFAzs31eeKrzdMS3mHJFpOaU5C/q2MRnUzgYYXk4bktbOrNqhh8RcPPV3RYx4HB9WcMgZVqKeNuMDlNod59xLN+ob8XgbVnP1Mad9V45X2RrnvdxBf/HsHYlKC4wZ5xxTRo1/iVqBpvFlsXxsnuEB3wykw4UHnoRUFzPI2zQfasMYbRt1LZKunX8FIrI2lsRbQIBai7cJee7WBa3E9cApnqCDx/KCtSF5mcznb3QcxYAZdewZUB62YuLxeRUiVEQ9ApvBNadEWtMDalS/GjhvTgCty0B+KbyzaYjEiyfiEOF1Gm22ANgyOUXYBtijuj+RTJlyNTIfHINT9dN1+Uy2ogFzhIeZjn1G/lOBnzq/v2uew66VVviFd97OL5wXwZNYtujkAEyiqOHU/Rv0HjcA21yb4Q6a5M6QY5rGRHliDRhD6Ppm94Hdm7B6gsrs5l+3ofqpsYL71SH6qY8xvtIP2wIkyAwpxgGr1rsjQ7fI0RyzeA8ZQnsS85qii6Au22tvMdP5cBXYY9gdP5oEDxl5dsv4YRssPklADyToR+ByWuw22/FfTSCIvjsuhHAOpJ8GH7Qh80uvj+lzs/2ODVw+H18G1i5PIObkhY4gZoOpAvm4Fcz0lKdrZL9zbdZdKb/xT8Wxc7BP0Fe9Yb7wx6UCfv7kjsZZ3mnMJzERKBnQdVD8jdTtJQMFB5HyLYZstxZLjGKqhg52cgZPHtkvfe3qXIxtzl1iiKhiqUkBHh8D0v+naNNBnkDnHuIgiqL49MXOxw1HAG9h5956jSY90Lnql/qnUuS/v4HbPhs33jQLHmrijPSu59gA3DiEtfIWAn1+7EAV8tIRJC4tqYqCNHKYnypJ/PJSXWmbIAeXhFQd8kdr+xvBFjJF3B9/2lMMinJLUScb2hSKZMRH+BPyWxoFxBMebPXZybo0h8V6tYG0plkYGX0829vfo2g4NlLgALEvgqetJYkN5Fm6GjGMLPDoRhlb+BxqsKadmOSqm6i0XS/E8+42rlB4IG5QEch7iNQmf28NmHjWDCLkOgvofkz2fB4kR9L8BJKv0kfm6m7khWeq+597m3n0mc6p4QvzPnu7Vol0bJnpoEbNtGEY5VrGZOs3H2SLZtDrXbFvn0C3IXra9o4tJCFXcjQ1vzlmWmA/aTd+moQl//uzzYeC5jPb1DdJtOMORwgbhXUDWe+Ms8S2e9sr0keQ8gH20lZ/F/ZWuPPcOWmwefpiwRBwlXD4kgsnmeaXqStH2ucewnX5nLMGRCl2++ZByH5HS9o7QEUH4cs5tUMwn14JxR2YdJhzCAjTXm/imN3k8z8uCB+uYPgLKv8DLFEDQeXDICj7yl2q5jUXMQ92JI/mN54hBAUZqDOruQz9srpysSHS6TZaWpl/VdwQq2OFHoXtq9C8Zb5RbyNlfBkg712u8tQb/d+dP6D586/jVs868OMj466oKK6KAEAgtN5YnnQCP3x8RKkpI6pAWR72EYeI8nQ9EcQ6aLSEnwdvTC0gJBFJQDGNrEpeS7YUr0QWNE5gZUwC5PQF53CdCc+3zB4oqNkflef3SBN1NbWYUT3TZE5uA+9JK68GhZn4Tmi6r2E5NCi72/LLLHOjEPujRJpihtfjj9MebCr7aKDQVLX6Sk4n8n1nwXj0lH5hFvKsqUxcv8sctV0NI79jew/c/1+PzIZI84Q0NGHLJ4PCxp4+ZGPSsloYzLK/I2X4mkTPT9eEIzgWYdRpy5WV2Yowp0THtHydi25scZyPGGIPmM2fXi89Ly1TRvNQ3fa8dcI4Q7lmtU041kBFsOyqEYRmtgvBQq7YPVfpOWXVHqN7XN1wDLGZ1rLP6BkuFoCzi0zyc+vKc+OxaZCnUvgpil3MddIR1PHSsnmgG700SoJ3pwsdjFchOanTQFZ0zBR1HAWCmcbfjoLOyz4JItqO2rtAv5DbLpDZUklIexhkoql6jmXwQEwZx6NexiNmB0KIxY2jnN08HnuZSFEpbPjNe7BLIgU863Dcmn1ZNAqo6dJIufi1/YXlhv0D9FTDgiXTgv2GQ88ab9mpPz6XjQgujxDcCssQNuZAhPizbeD1klTkhPWOIjEi1vHcqDlJroH/2DjWqQFw01znZ0CK4ogCmn2zfSM+EaJN4y6AW6qUy9OzDcsif1WRNPkRdMr540GqGhpZXwq9dXlfF2orSkSwl9EjmUdBib84VMTD1gW2PehUwNfW9pe4v2XNBcP/X+0DXJqU+zrY11e8TVc1e9ZIkONT1niOMgMHu9JKR1okmSHpSm0MDkm6AWMOM6DaO9J0T/hbtu0X0gb/w317kfTkCp0kPCNZU2GqVFDVlJHBPzihnRGeWB0thqmFuXHMXADuBpM4KjawlgomB5sXwgxkpxoaa0vcVWCpxWwESnPrWp0fDVJR4XG/l7iR7c06ZilOrnmN9pDzInkbr6hGV1USQ2qtuEzhSBhF144N4F7lRc5S93VKnHz1Bq86xAJfblWidGHml4YNtFyORetgF9Od+eTQDCFW1rlaCc/ZoqF5rxK9JY/gtqucqQ9ZQQu7xmGHtaDQCLFRSUOG0vj6WB4BlnJtFNeACYRaLpITPNAPTHo7SiFxMAVHWuKEd9x5hbCtw6lpQXeXfTpU2etsZxpyv+1oVZRLDki72+z4jyfHbwco4oYUf1kV5a2sXXu//IAgVj8/PpGeJCuQi8Y6wftgqwwBZP2klHO4ntOt3XQHEa+xg/fliYcQIqK7WFx68sMYxnZtnc7D89sa9dH2IPKQJ/Bklg84FgSS2e1T55fLJ9yvYmiQVqvD1S2Au5Sa8Mrlv+yUDQUVLGFJEpytC10dDwrlFkhfDMyTNX+akU+crDdU09qnya57daZYb/Ey2SJQ8fKuXGKpVUptgiOJoWjWcU5WwQ3x0oX7jJAMxToMlYnpKcl6OeYo94JGNGqyH5dF+8qDeck6pCCOXB0gXS9ScDsD1yi5d8iTVyG8PonJTjYz8krQxY6G3hwl7ARWLVpwjJvWVg0qKSidvD4A1/F5RlFIHaUknsyWbJ5yLYt3D/snw2qQ1e0/No6Sl00Lwv7b7zw43SdeUeHyO2mRaFso2O5a9yNgpYS0PNF4HUcDfSphpA3UD9H5D6k9Udvh9LVftzwpy7hQvT8V/e2jh1syrZ/BMHN8Ozp+XqqX+OsB526pjMFnG3/0nvD05u8QwZV4LDEIHADMgbAH3e/8VMlnOjeAh2SdUtqkaeg97b0ukRpVBVNk0JErt9amjIhX9nFWhyTAwcXA1vu7rqOwpIR22L0IsKdqXXPln89RGgwsU/QpQyAnDGKHAPSuhIqkXxjLHlfqDp/kcO2s71F4Pc+nnyO0Ec6BbQyjUHjXGRxYY+a/K5PpANZSEbBC3mMte+hm7Bgof7/mmjAvrTnIHwgQKe8p/CT2B3mvveJwQv7CLSUK5UHLTab9qHZV4HKSStHuU8TU9bxEe34tC/uH+ry7EnzSDpTWgcjTaP2pYWN2J0jY0W2RzfsvB3JzpPusW3NCbF2MiOEH3GnPgvG9pdCpTPCm/gKyw1WcNRcqTLtQFquI6BTZk6ajsUS3zjP81yYBS5+nRgusyt8mIkLmt7LmzwKVGmADPIGwNjWIWVpYgttIdrV1FDl+LX//6UYSTD9MoXj2lzHt+wP+n7KC7J3GIjhOLWEtu04am7osvxcRMROF5noDFRXyq+IikF4a5UwgTJ1xgFze86htZK3mcZiwDsMnxNUscSIVN0rBVncQzJ9I+y9G6OPRQ6CuLJVBGJPPXvZWFpwN0tK8LuDJRUH2u2LHFLT6pwSbEgcKyJHk4BiqtytLiivkyjDnxkXC2BVO7eyZS5jLHYzrYaWecD3nwekny+h4WVyqUcCm4uAlE09ZFCPDBCjBY4O916cfxw5qkkAh54qcLRppQaqRuRoIuwYp4DphPTXBheMm9SfW2vJe41ebcKPGQj4+YjLLM6hHfSEQ7JURjweoISQOABnMcRXWLwpt5yB2TcgZmVdcEAqJtsiK+lME0QEq9LFeZsrYpEypiZylb08tqBtCS1nl1BKyHV75/GpWn9siKIdBjwqNaGDJMNDJMnbkGdkTuvLechJnL4vN1QIXT2Ynrp0drmTnMrb6u26actTC/j1pGJo0PkMZO3TK1hFDGkXfU7isuHmP7w03jg5sUEnqgrZA78EIFGThl+CFm7QQBT8ihvCcuwN96neeXpLmpO3JXKu/WWogzttWKJ8pFnd84x1UEHhBPMPyqA1ax5Y2IBXF5UdYRmmLI/3Qoyo131zTT2KuyMUevD+yrQ2kBvtE368PV22SLYIJJ+lsiWQNBjxNKMM5yDcbz6EP3hZhWQuUBdtYxOkLuzFwQbXN74npqI1MOIMabzyMVT8xElXWSRMIstRU6S/txwdCC+cntbd2zumGXFFvEMlYgIMi9kFaF1Q9a9iHYvt8E+qyl9XpEHT4xK27M66oTEv7IkCSK7tiPi1DnY3tJGDsP5P9UAMerUP1B/f2kWfUWd9B8TJQZChLHf6ahlH+lEuBHyromxah7xlwhqrNXvQ1YDB7xmdlr6EsL/sxPMtMNJbxlrJTkdc/t2Gwkk1ZN51VjMGShVlOLXjl29km4TnuofkDtY7IUMwMmz1qk0WxGVm5o5L+XPlV3lhO2todmNgGn57NIMy07SR29Utf0OCtJDElU7NRlk9MqDRhDTrVQ03FJAipYWlGvJyR6BLbaSBdtz8/bnhae2DBDRo61I1dtZW/fIFGVMxI9RFo9oU7wT4B5X9nEM2SHe38SkhNjarXj1MWSUsF+buFFLcadAnKG290t6doJkNnPQRQUDfILrO7t908XPCHeo/YHc2trKSHSOqNQd6GA47lFZbdlaKThvU83TDQUp0qF3oirHqEJcudHaUD49mSLNE3/RoOcHJj8dGFdDf4rfgnZsGzYDGyMepNPIwpHlUNXqyS2aza7eFZW+jMlHFXB1BgDGn9HE5Mc4GpQVPdE4b1E8J4QAL0RP1fvDLkGuRFqrkwU8lBQfgQ0ycfn7joBhXPefYEeb92kB+Pn3Hmj2eDRbJ2gQKp6mSySsww7j+yzw3lXUOe2oc0jM7olT20vIEsz82eoFJq5jGv9yg7CQ4w/C4m3NwaOn2e1TW0P02R7u853zlQLGjkV4nP8Mt1lUcj5A2AKQ1T23NoxgtaSjTpdJgzxWbcefmN9xj86SIHewZIgDnqdPXCdfBoP8jIWVMBoTLHFS8zVGz8+pCgxO9Tj8SlnNBYarCg/aKcw4M/0Au0vwVMXDpDlDLXACKINv4M3UTPvLdMvUIE0v7HdIwom242+yIElXNC9Tbvhp2X8WRde9e6gGE1Z9uKcFRY9b6nkytWuATjCcR94GNtchHghge8mNgsYcTgHZ6SnRPDhAILytSDiKg0SNFqb148AAfKe4NN+CH0cdUsX0GM1ifWv5gjQlkW4TNw5HohD0CXXEDyWMv6HMGeIUEidi10IiT3SLDN8rOEcWafy3oXkGIbBixRvrZz4BlScgvsdQJGeldazc6/8eIDtAG+FYii6JRshgJjY3LUWX6mvG1MLFaUlTdP//ifAZNtDl6UgAT/BKbBbnsCcVUkCuPqFVI5BP5p56DW5bN8zpGL5nNSZF3aJuPY9Huaxj5wcNDB8waCxGZfJQIafYUoucOLwMGpUHXieLXDkCd4ubHQuIFFsPT9gVOhDqGlASeeNPlai67uOUkZfu2EW2+z+QuB6Yi+qBAv0n5GTJtsdEpGnzGpbjgMM3/poU8Jeljj7MLQo4a1XBOYJBNLcr+ghrvZLoVrpUXvtADg1kCcg4HfIympPF1FMtLjGVJoD+r1Mv0xmLZI4b4HSTmBZE4I1KJ0tfxmpqA9rsoOZOWnxcPNEUz5I8QIMVcJZAvt7K7+VQYbFEaVOv5N6KrEOM1pxzBsdSe6vGAs48+LdVCApN9HSONEy9e7briMRXDZalUE8D96akqhvRp3XLanNknzN/9tqtXFlxsHaOn58hZid4Kw9VEfxxY9CcDCXEgj9IQWFijaeXEfqS/k2YcCCAmTKfLyqPfIrwuePZ+gpSjUQkp2WANyG13GzJ2sqKjE4yJRAbkqIiWIR0ClyrLhLJT9sklgy+sKjzrU3e398JrjyQZ80irZMsGD8DcDYLJ/bSodHtr2Boglx8QWJ74SiD3TTjTT8YOkHY7IdwaJse836mQGp/1v7b2iuuvYe6A/L9843ScQLEOh5G3XmVB7ZHRZyrd6SXrySMTkD0vs5eoh0a3oFKd741cDULCgIDwSSF3r+NoUdhAWiLn9lGj0ftg54LYXTV8IX9GmFgdFI1uF5MHhGWjzaXDw8KzUzPl+LlN0j5/BZeDr+M6nH/3srrOc7ZZ7tt1FUEWEhosM4euladG++sav3PYBKYXohLUgc4EI/CRevxF4erKEjH9VCdB1HhojblO5Z9IVTCWY7gcsjg9iEO3YQnofbEuTazPPQ9xCbp4bd9ZrYJYX8+c0rD45c4ygnCjAEfhJBRxDt8ZEx0D4sck4F5nUvyA+8JYw8NxG9Rpi5ucIWhFg5JJ4C9FlqOeB17FthP928LDFyL5VNLRMEowa7kEXcrs/7P6Km7DVfE9LckK5f8E5xy+cmf4/QiYtfq9O8Lfw7BvvBxMhM+x291rgR/kFMka6pCAJPyZJH3fWKoCp0AiaFSYZ4TmZy0gQYHfl+xn/OArR+JZLPbO98UmH/WBuFdfQ57JcJW/lgyNiPx6IT/95A4PaVhaZf6+IiPUNpdTjH8avNgByTkmiA8dl9C+R9v5ZfcIcX26Dm8MBSlWo7H6gqM9RFOZ682XCH5cdv095pZtSMy8nXAMO463z/lr8oUrU/8gPrwyTTDONYrUU/PET23gGY0UnbMQhVR9mOfe1XWwClxQ15qZYvBGNZJTJlAo3BHMSgXeMH2s7BL5NLIVvtkNzL50bI0vbLbKm7Ubt9vPTVfYJsHzUi+fjiR2uyWjK7X/ZJfdQp84l2B1Yz42pTmxp1SNYxcLtx7L0CXxODEwAuuF9Fops209ovQtVdd5Vw7O+2fRm5cVA1P8ImdM8QHLwc1vmAWdzgLFRV+QmAoHOBUPheS5IRhxxO3fu6IVQL6k0aqcjSWG/FzqyDHBOz6YecblGzGQl8DIYbfG5LlLYHQ8fC1HLPxySDD93ekwwCugD2GfppqU9jZaU93k1s1JyFWLIJGW4zuFU2GmowiDpHtIvDouV5a33sZvAecw8GTbodWvxKkavUutU6Y0y9NloU0qTCGYFszs5y60rSSkeKrV98AvwRFhJsvo2E+wSoZWWmDCQroeBDSVA3Ashd8TyV1ceIFUdirWMtgsYNdrd8PBaaT4Mmrf7+r/Z1CAuXAVy86FyJ0KZCj7Ia2c7DWpAY1xlXGYWRZpZRf2VoNsL1AmkjpVOAcEjDnh5XxCT52iDJLoqh2wALazK45VqyGtZwW1B+M6eBwYQr0Mr7FQgoh6RxYeO+WLh5tBO/eHnvLYe1HIwrg4gbgH7Oek+xmmCyIX9Uwq+GyoUJRrK0WDf6mi/mICzM+3RmyUNUMkyoSfePZmic2ApS7ZC7m2uHmUlMIJ81uwl6DJXwJSWYKFsgimKZoNIAQpyQpQLOWHhTwHf1wHMqWS6kbiN046lNOJ0iI7h9ZxtfqsJ1/NwtlekQfqg7UVweWcpypHBQvOZBXcgqwAQCXIRJrdFIcU/sJH+zBCR5m8tDDHbbHIUHUqXIrlVeTg73J/D974T8p3ul6Uhz3FcChPC9cTSYiPeQWoKHGY+/ggjt31HORgWdlHzL4hir5ftx7HkDpUkbz/pejmE0B5CxPWqdNyFR8XyeQ3cflwkeaOfdARSObO4MC4jNLU6ef4mQxFKq4SKcGoYPt1FrC6dEhhxZaFKkHXedc/u7x6H1BNg9o8CBJsx83Tdb+GIBXAjiLMV+2qI5gI9ii0KIa78cz1MniZbBKiFf09roiSPhWoSm7kqAgxmIxdEoRWBYNWMcXKLlbcnr6cHBI+ZzI4RdOuSEUmyG1WbR6RlWuXiiQgA/Ti+AePFo59nVoJ3MtSv0NF/9P3YpwkrKImCSs+wb4LFHvWYCcxH5bU15ibzU5ax/BNjteOHhWaHlRDqH+zGcG66zRLY3zNtdc6xhIQ8iNUH7eHvQ3qXYnadebF2ezKnq+986nQVbhYB0CCrYs193IVdLt8z6HtOYZw8SdZb1BMg+/1PKWwdFHWUyK4wqKg0oJM0s0p95D0+crfmwoZBt6mW2rarU5fpGjWljozI17izIPWMjRR2WD8IVHsq+//yORZ3mymH5nKniUdi7rB6xgMEY2g0zunqo+zxb3tBddx6PeEQgZZ/n46nYu9TwlrvXBpUMRiDugISD0MK0UejEypC1Yi6/AbxOcXGEQWxUxIhw9msICfitrPVOyvu6PzQCjhU2AyAbyDTlzFHyn3nlXtVr/erA+AyOloG97BgsWrk7yFDAOiFF8q/6J7CEdPVfkbjcMQ3bFrSoMOk4YZW70jGfSLSsnMOPK6NW900jLqA7f9QXphuvciCFpAZZNk0/i1bRVt9wRqgmy02jUaZIuxUpDvSNuX1PzIXtJMIJRa+jJyHAjiB+BFJ3sCWAJFaZykX0DNyvQEvhdP4asaJAeuc6X88zjYO1Mp/Hm/fKAtieBoYc9olKK5l08IkE4A2dh5XWGUBPHLqz1h7imrPzsq8ZbZ74TptYUZurn27E9y8HMkRzV0pi5wYbrIeMsNupltqDlZ8TrQkI5YAoqYowZtsXsFhDo4SfQ9TU+GSiNGebDQHBweIMN+bgGRQefJX/6WMSDIqD17cj9AbY2l6VtnsnXDyI58d9vGpJPoNVe5eI4o+Kx+oPRtX9jjfRKllXFi3VeYMVT49wFgFF69YA/MI+szB5CVTe0jqkHm6wYJK4JndIPGaDTH6Br1MHTj3lW88HtG9Ts7iY8LQQPyMITBCsj06h+llKgYywpMSVQpyKMkyH7wyt025qCHiB0JmTKEQ3c/4mhY8e0mdM5OWAyro2HbkA5sBtAxO2sbXCgrSseltRlehp1vmyLuYGEa+POl5kLsuziYlt+S32ppgnNwrqU+QlXox1SZxz2yhpMVca3OM8iCaEC8ahkUzFa9u7cJU+vi8ZE/PWKTiAaxauIrdslRjRU2jVcx7+G3r6hT6MyRDCcoJLLuyr6xp+unwmtSHNJ0nnLjVJpG07htgm/wyOATG27Om4pw1V1pJvcUcWcEbKquLHKIMKUv354LHPg261Xg36JXsHSzk+epg1O23em5flYZfwDlgk5Yv6xtCx8V/+sBShYhEOzxy2PXNbN6bKS6mWrfrUIBkV7auV9vllnSCfDy6B0nf5jOLw+ZzmkvBSZ1X26pGe7iv4hGCIl5D+EPQOUqt0ecFq7qR1sbXNZqV2F/ApCNG1yQVVTie4xTVIgZJQ7PimRy2tWZVH+tqQNN6O+BL/+ry63EOmeJa1eODHgS/UtOZCm8Me3YHEEO//dZkZQiAU+4a/RpQfh/sDqQXmUXK8qv2GaPfBWghQVxKbam8wbddyx/UipioTbF0UuKECTGS0e7RPVeqdHBM9ov6BabeSXZsF2OSI/BoUu+qOw6FJz33QRnFHnIzXdYGm6zmG/Swgwdk+jFnUnFygvSvq2IXFV3unDJ4gZYiA2xMBvCYG7ys/Qw7HYDEz/aY9FhpfmBkPpt60fD5NRKj6j0SsIJE/ka1Y3aKery6C2H+dwGPjewgNHLDHuMvi4hBjee6C212KpaUSHKKDEWHp1YBakwIGOkG6DmgLguE5TMsjr3OurubCryEbI1T3c6zpzwr6LFrBSFBGhyT5z0B2snNQ/61PxdZAp4EYsC1DLQP3tC4Xxo+QRwpPNyPmS+aypHkd8p7Fjp49F9BzBvher4UN4P/LngvInkieHG9v5Xsp6WkQFMQAom8qg5QYM/UG6yRytV56Y4NWBwKUfbAAZOJTu1hnUmP0UVQ/zyhUwzfbzNuDvc7xulb54k1+q6wys5xLLVYeEgMWV7ZicuUnRGnptqtuLjUGHV6qgJLZ6SNUxPXNzboUsbqeFu4lw+8iJIPKrdgEbLrxkA88D3/p8sHHhqyk6NpDeJwwb31FoYy6LeeP7c2dQ0TtGnuafwrrCktaSnxUM/AMVbSOKNEd7pl7G6tEfLGdUz00+ni10SA8ngyEFllhhyjMriUxQauRm3LF/YJdIuCGmqMrX/jXBGCH5wyV9Lio395Hx8AZgyvbrlVgEC1uTy7inaFUc2xQD2OVCx4JhbE98Grs/AHikrLDF4t/GRfVg2Vbc6GrOb1joTZgrm12/Id3ts4rhiNg3cP5hM6R8VNqMVYSNPkTEZBKL5yT7aDjhQ5JMk90XWeYQHrOxhsR+S1Qe2WnDJKZUyQYickJZgC2FI8XE4iv/iLXl/rdYCijd+0tQQt8Me4or3J916CZWo/pMhuIQGjoYSZwb4kSQqZF/0XJ898iKPnG2ys5W/C9ooyq4K39lwqRrkqVm3WqtaEylIgndinqsnVl+6CTIlecLS89IIPR8Jml8Acj5o3J+Jt1Q4KnElh/iGmEDYR/rNh1hAct9zceqkuHCDrTOwiC9HCzR8sNO2xmFBhF8js7Qp79yq+6ba0PuuJhIQj/Qd8zM5o751QyGt1ELBtw9dG2eW+YwWQXnClfTv6F3H5My3ggLEEXpjHYVowXt6vxawnxg3+TzJuZ2iFIL7SwsDlsZZCE53fKZaZGg7XRc51v+RIbkwrDc/LWHSy2drwC0pAoirSHn3MDP1NmpCEPP3Rs5Xp0mhqqeJZ3/Set36DupO9sMvXcb/gtj7r4zRa5/IePsn2DvTOpPg8rfxn3jUMpUhkTon6ZvYKnMlIhA5lEow6I1z6+EGmpc20ZTHSnTlVHt2I/aw5o0Ypd6z+qt+D6G/Ps1WvXmvhKqA7kSNfTgsg5+I/E+BInFT3RV/IgcPw5j0xiwILcl7zFbWkvweng4sISSCk/j590u5ptyehavQONYYgCpSIoh61EmfR1SGi+3CSOMe2f08261pDkPjVdrtybW/WxmbC8AEIbLfbSVhu3yb+U/EEOslxs5jhfQC5L1EqvvSm8J9Ig39/xf15osz4xkpapRIf2a8gDHBVJ86e/flH3sWH80vXPpPkm2crXXccBQIyWg+5QPMi5RMp/2e6W65iUURAceh0BWinKroZo2idK+gbBx5BFWMpyO2/Tzm56sb07KDouY0cN8A9PXtrtOOl67rqyotfCb6puhOFr5ZzvXv6lrbg3JhX0b92EFYkXeYFyseKmPr7NYuAv7E4vJlyn/x01u1wB7siRKkLCKRNO9fxPGCZ1EDfGFo6OUZe2TQwwW8krfqdBj9VV36oB2JKmUnhInYbqk1a3n6FbfMl8MiM4gtC04VSopsVHTg/Wp5F+lfgv/rMTTdLrTV5xTv/+JVMuygKkoZjEHBnhge3CCDdnT/veCGxoptcnFRMX/LP4lC84MApfqrLuEC94tisTZFafh9Vn7IKJN2lsgvZltG5yDUYNKeT+JZifncf8nvfTZNRx86/4TokfMCivytj0gJ7UIvbVM9ULI82Rx2AgqetuNBvemT+4sWi5BlunwGrzDaZQgUEriV4by9PHs5aNCo/qXq3sqeoxWSoNuHhTiCl+KI3qRhNtW1OSBuiWBUTp6lNXLPyVcXddm4HnDkQeb4zek8hRfPVUx0jiERKCSopxnwQfbGP43Vix0wcq4f3ZoAz4jcihYo+WrZdQc8PgTf3Oq/4Ovl2loCnPlm76UZDmIrw2z2u92zAj+8ppSsYrlQR+Meybro3tzrYncENdhWXjgNWfV+/KWEhBqfCmzP8f5cPUWuQOPP2mxiJ/V5jezdiQzxI56FufjceD5OXN2MYf8kmESpe+yorQ0HP30BL82vN1hLeNU2GYBQGhGzN5iGW+J6DxMFzLMITgOD6qIP0Q4/5wH8cEzgT1TuZCCQpBlWRPx0zBX9mTQuAW6LYgHEjpvyILnZt1Pzr0XYsI9W5JHHZEP6XzKrGVWB7m21/kg7dAUMfVXx8WE5PvwcJJb5yVb2cdoApz3+EVQUpJ7pexxSA5VN8UlNIcdPM+owb79gpMYl0aFKIqn+7SEeApadFsPTDGO9oJDKn5pEQBlNrhvOt4KUDKfXQHH3xYuS6WU1ZAlpfOLwnVKi4tdKyvIBGYwMkIXluTdf5zWrgdm2j6EA38ZmCKSoxkgXvFJREmJD89P+z9+9fcyKCuLuuSFARMeUd8iWY0ua+SGBCe6p2T0/Nb3+TxP3Hk2eooB36nXkGWecxr/QCScjF8WBYid50vveE5Ho3jo5s6DiKw1KTJr2D+rw9mmC/3KkcZ9UntODuVhHtoGHq1zanx7ohEJp1bhdx9duR/6fSMj/GlEgHXVbqE1BvJTSuBGx3E4fRLxGQKaNdF9aMpiIeUMq8FV5WyvyTEqg+LAd0P3uHNdBhOtV5n498oSC7U/036B16LVNJWrk1sRqxf3vKy/3DDg0xvdSVceRYgW9bLpJCxXBiWrl+/OGjuJ0/qXrNET3uTps07soP8dY8dfRdDWISacwLK/WDiloN+Jp5wSaPQaYZGUmE3VHKNE29YA2OUJb9j+KPlPfLvU+/rNomnVFiSUSOXrxX7enwp7sKO0nQZxWP6b+SMBbkgUnDi2SIX74aF/3ILa6obq8BW0HbQgIFK2tX5otxnWCweQnCGcVINSRUkx6ROKCoWWlfZH9i1kInyY9U9Tsov6/QnsQ/JzYhgNlGy0uEp3wvzb5waF+tlpEQdktuhuYCeYIir7vHSEk7V8Jk53+G41vMCNq3hrTxBiAoB1n34wIghfGr+myOfziX1W43B3r5Da63Bqc9XtwkFEPXhAX16Qb/yz6Gj0+iVu4oGFuCAr0s3UMOaeFYElVaZ9Px5DQaFUYGmiMu3YC356DcNrv4iN/att4wRYb/dr+079W9kUvHZfq2SeDtUdIrNFxpCy/PfHX1pDsSrQEG18t1GqPe4vqB3lDfrto8J+IfMz4y8mMnhp1PsQGk0tVg/elcJa0TFZzJkdsJ1mnQKxLDaKyy9bWyJL2U+0qfJVEmLB5kshVyl82GMQsK+EMMi43Bz8WBNoM5sAv1xZn3Ppi13LyDbTnTUkcFoPY3CWGsqpKBETT2WIMR6uj6K+uzkKoS67oVCp68KmrJg8EFCDnW0da8s47EFt21n21xGOR9WpdixvdqkIHZUE02hdJqBNI6tZlVyvwtnygjCkhz3p0RDgJEqAFQWEaVaaqN+9eDhd33clewaCnrL2Uu+pCP1lzJraokpa3gY6nieoIFrHQUalqaqyxl1fO/9xr3d3LjNRWFdZhsaawMvcPDy1TdOXFO3Cix6K5ylH/hgaXtTm3GtfHErd266D8vIxVGellufwtHv15YWKJ23G/2bhcb6/cFnzWkstDD/tV8kMm9yZUzNTBQx8j72ql3SdRjQLxNK1u/l83BxSWzmCAkzDNmaM7+vAkJyOsevuMWJ+zo5UcDv1Y9/OK7B+6MIDzBlXYY6GYakMFTArQWg1i99g9Ejb37zEtE1W8RnJGSvvpAXyI3oM+GwQDYRiMFRC0SZDf22vQz3408t7vFKcc+09JIAoMx55s4vMPvqg0evdp1shW4fbaznNnFpTzLoneZ2R4Rr48kF+b4xY+S4m48OA9OfIiC93czjiGnPEKzsjOEPVwKYZ4hZKgGdCmm68iUUWi02VXXwElCr9KSdceblGFgdgpa9LLMfnF6o2uMTxLMPQX91jlIFQ0C51R7tpOv+RuAIX/6CvWSU+O8uB1nGfC9pPmKk+9vSGEe4MuRFWySXvwWhfNmcUTpbTohpwle1krxhVfDGtZTBHa5GTMW2aBJ28wDnFi/zt74F4fTvTnV/ikVAgxDxUe5Bmiw+BfmRa/DJQ1bCKDflou8NfIcxa6dSfrGkxHWNwBM+PEE9N9baHdp0yZCUR15+sQDlY1V61f88L/eVTaUxkwdR8m14lrMYWykLWICCG1P+aYAQM0yBBuRYQIQN6KL58T33ruj93w+n5/6MfaJqKmhiHWNBsg/Ecm0YquqMMEhHrnAwsLW0HIxAO+28S0KiSOHH+rGpyee9wjmKd4EEgTbGfQcyROrgu79y+EEa6rYtA2ObuC7nRF5Ygka9TZRTjxUU7knCrs0XTtiEX+Jz/hR411ylyxVyvwFz1OnlVen9GN1PYgOG4ew+OOpGqIoKkz2AOoilpBefobJu+sAg/oU5nBM1IOK904M+sRpwa73VFOB6yRotlMyoOQUV2UB8VHAeVj2xJS3vws02Sy1ARN0cwxZt074GwGiKv8qHEJmkb/D7VX4rciZ1dGVjDECwv6N4/S5FCoRlozIO/fH1I0GZoGF6ac6zn/7rcIMVXMyBU27hwwgcT4hVhpz/MzirnTUTr/y5lusosboAbdEIzTAwvbi7bslfHcFDtgb6EWkKqhmNp+vpC4A0zEn0mhybBoX9rwt83AxPJHvra8YDCzgBeRYkAWNJ54NzwntKB5ozV5q9StYntH03GtTUY88FepeDG8QLRPdV1zaN0urE/5i/7zXlXcg9uYvXrKzFpQwn7XEV4MHGHBRDUH6o2diwSy+M8DEpn99Z2te9sfOPGQGX8HGwQrSKRMEO0rfq3DLxFNzAiGwzHjv2cA4DLnAEz9wyGEMr2D1oE7+bglmaJpOsGVALhwfmp8880WUBZORkt/PCEX5mQ7HUSvxFApZVZTiS5jgOoLrNkgTaemCqnHk3bRuGNARBLKx8htQZCAnSDVKslTTbOHVKhkKSMC5nEND0rLvW7ISx0ncpsnLpHD8RRTS+06wpE9x4OGKDkcYAr8nT9UTGxNscYg7/GR753MIw76nY3t5VlX2nYZnHYOz3JqHQE5BrsbypGvDLgG0OFOqMmAwDaUh0xzD+kA3gT7K9HXbD4AwpSUYsQL+P51UPwc9TRt7V/vRffZE55Em52zyqDP4MvKH9PFdEm/qxUhU8gSNU5YwFnCpdXDGMstx1T60dYDqTeP0U43q/Q6dC/Mvq2EKh3752zDf/53QahYYzhXZ+ysfZ2KP7HXiMCFStDk2gXD9GVLSx498m4N9ygsK3+cli5kf4tl4sGa0g4aZNW54UHm6RRllQoniOjiE3v6490vf+NnYGAScqLHJJbX2nWlZYebPkjE1BLjvvM39apbU/XIfhcnU0GdHyDpV80PrBHJtM47w9pv5ykCAkzsZW0iZVpIdYT+zEhLnLgC2n42ngF/Zc211Jmiiv8O9zXBV8FeSofdKuQsQ3KQ/iL5jJCp84IghyeAB/qPsPFibB+9x6oPQeFzaPpRLioti7RXuYt5MclpOONDGDsCnNC8iXOP6ZVreCvWfFq6LASzKJYg38D8RaWPj63kEPyJoeUvPcq12OO1uqTyns8RLOTm4IYinZNTjQtdxfJIpA5M7degvZIBeZ0sk9g1dkD5W/2uouZxiRGJguLnOJSP7+Q5soho2l0cA9YcJK2JoD2KhH/+gMtLtKDMlcKBtcLQSuwUlbRBeoeUMDBmy5Znp9A2Nze+3dDYlkDUvoo5rC+fkRRAcUSiGap1r4vN69X7L5l8MXmCvMeBtIRw3UhvyC4AeKCJRzof7yymYCy58k09Jk/0YlsyWDlxvic5iCa+DRFjij2jfW6g8lMEk+UeYS2L6H7B5lOqCEP5NGsh96d1fUFGqSL72yR0PKMgbQZOp/SHtFhWJ1YH6RbNwwFw5RmkSh/WmkaITkt8gdddGBNzr68PSBOAlsxS9Z8A2K/Wf9VJilaym0ivvjNsQOEHNX1niNp4ykOwrFTRKfaFTFi+1xSVp4ZUiq4lhDEJJ28tJ+jqGN+wYyXkUNH+vdExJbT+Z7APhjY/A2ah/xok7mUGz6oAkqtsdrTr2TuG6Rhw4unjk+0qFT+wGMkPY0XgdMHNkIXm1TMd1KDBW98fDnsc325pHnhQx9GUaOCLmkOu+6fn5jsaejZmZB2pMSEU8Bcd5zFZyTfT5Ul3gEFhNHi/DkXcYuFoFuWg+PpDC5aytj7beMZ2/jfIeBB643qYQdTkh5OT2aR+dxAEJW/8Tm4hwS/wz7IizKjvN+2C1Ol1ke2h0JsM80O/6T10oqZBIHHhHjex3NZnk3+O8MWujBLqCiKXz7dsKy+vBwIzIw/DLNGibIJpkVJmLqops6WHSOS+yMSXsamXihWGgeiPxidks+H7m+xPU4J3T5R9VdNO7GgXq/LDHzjG+AFKNwM2Wpw6IUtx8q4CmwGkjE0rIiFRfiquV6+x+YeMc4MoKpQoLOWeLyFosbfNbklr5A/JWSupNzpIIEyI2o+T63lhCgFHbhvr351dqi8+lS8Ml3HnQugZz5Yao+y8+DcLf+zpbhLQQXfhyy3yCI9z+CkvgZOLZN64s8+kvY2miN2pk3iP6UMAWt+CH5Jy5fWNJRKnSMiCE0tUXKh4PiZcwKTKpGIEtIu4iyGuouMcF0yazwHcDdBPuwjYoiWObQTSIKOsRun4Gy743NNSIb3FgdwfHlNDCC+RGA4D7DtLze8XOPDWrNGf6RCAVep1RWjL5AwnVwGiA2C/htMSCH5gsV2e9yNA/oeYdrmXUO4xkG5/UFm9wi8fNYEwMqjbgnaEDYI8O9OYIluq7Ytulka3ZdTn7T4XYok4/wwxiB1cV1VDjNZmhonJG/sLHWqTcCjzrkkWyulMcPgqrTZaqU4gnSqJBP3IFVbvEoyqdJpKizrrh1nvJMJcMn/b8WWaN0KQjau+OaF7dH/83m7TGBsEl8/Yg1KBWXV0QIko32ZwNX8yglSfPs7UF4lkth2mUnrqXxQho/lT1OYl0Y/uwrvLppYAS3qbXjy/Tto3/Y5jWjp7wpfi1qA8pereCUFXJtGLugTRiUDa4e3oN4gI7yskCposQOUfcpdabTbBSEGRoaDk60RGW496eCOTW9gfJw51WnCuUt1dUK639MXBSfr3jkG6EN0V1tH8nWX1C/zyOuafhMCjgdSGPVFRF97X7egvkgK95ZiNBFhFwweADBgaE8KnR3wPN3SiaCPOElqs+leKL5/JYwxIM0PMrWfzxVxSKndMwXdQHvMWjeAldkkxumnU0z6yubPIQU6sXhrTRbuq6LH4KWVOVJKKajhXK/9EPwrCZym85UJJBv2POcXSJU7f3vsFgEoLwTJg4SagXrdxzA8vPsGmAlFlsjnsLAtfj9uJuvbTnVFH2Kt32KLeNTAjaLTfhxkYZ1yZMO/4GU7jyV2WUSD2hC7CeBv4KXrKAsoOPeIRw+9X6dOUP21QFX2IC/X06AJ5+9maVsOdA+H8trLdzs6/2RZ+I+cK9fM+GgNecZn6/kNHZ3PPjEknMEBuEPe3P1MbYy+fB3DGu8g3ouizjM51dVsj02w07z+DCGFwbqv7PL8gqSsPnABQV8aThx9ND5oh6H0dLAWnP/tVTqMsbtWQJK+GBhmyHMhaP7ck9mBbWQe2nSJ+0WPEgfQoQMzyomdj8IyYc0bkx3XzZOxNnz4r2w760uQZmukw0YlmwUJ0I9uzU38FbNy5vRqe5ABGX+2N5lFhcn9Q9M7GHe1qx115Q4sRiyKJ5YlrK0yyrCDY4Rk9xkzSeuS7cDFav/ytqt+UKyG7W9LpnMUPOOAGaxaHFxaedc0lJxB0cW0na/4pM//FmSdIFfevm9dhiKKCxlgjwRUQiKSVnfVQhWdg0qRxenaay5watKcxSz2qa4ziGgF3XiStLSjKctRFRRYTq5mlREViyvPByw4b5iFaSyI0E91f05f5PCVqmgWOZOAoUEOEAlluUFo+MZ2bms+RSPTwmqPbNiBkwV3RM0N1xk5WrjgHAP0X2uBnzMEgT2M0uJijkc7Ti9K7/UFyHOwI8C5L0pTWnP2WxPI1tcNt7zYm0x3ASBSh1g3Y1+HESOo5rRkL8pynpYYUYrXpZIcQSGnyc/Xo/cuMBAi8O/OYinPERivdNOLvDSMm4tbXo6HbR6Io1EuAZk0Fod4k0Mn6+RaK8YW81u0gTn1R+NBtuR3WlVGHL1O2729H6imonCzsGEpX9WsANLTnQjBgLLEMuPSqeZNwRGJ1WlrzoX1IJxAf/KXZXqgGvGVEtH+7Bl9BA/+G/I+rkncZIfCX6C0DYEF9fDCzQ58VtWBnHwsh8vh0RTAkHHjKe4oqYnA3TB+0SjMDszqvXqFQLVSwhpl8Mj00wLCZ6UyTRe68NI/G5CmF41Cl1Bj1ORM2M8Sj+TsywgVl+HwIOCBbl8UVPs9D8UoBP9drfDqokozw7X7KSGFQV6pDObW9UvvXLaFWrsDPDx8q24MipP/q13MunkXV4z/5I6wWZOVF/INaPan0WrKWrkd0KWyoXZGzFwVqpR3x9dpwGWZ2WJ26T7q2fiH4Oaw6JWDOB6qLvNtHmZ07Xp5vjhItVWMCT8Gj/CtrpBc0sQ8wSwJqyLRUWftnwuIjwPx4PnnScRi0oFMW8V25p4R01hUcdoTITZazGF4TsGLDWsNPI0gKrNk3qcPfDi+VUj4xFNq1i9SzMjbjGLIqCXoK67tjJf5L32R3NJS76moiwPPSU0jvSiF0JQ2bI5mjWNRWBTqBTkFlgnkz0UR2DQS6wARDakrx9yJkrTGDMeGJA6HCk6oLZ/LDMW/no/oxKYA9210N0opwEiAP+CksA2MSFGDeQ6WfWqFDMlxqizdJVIQu4NMHSCVAVgmZv21sx4GpCJJTE8l3SQKCQ9etKYE3nGNVb99r7JUaA3iLDsLqNFGbErpsZl4k4y1xTm99oqrkDW4izkeHaw1JrnDDg9bIOTgZD0ska7FxRh0+3VybDdvojjBfSXfSh9sEGGujteU8hCd64pVwyGJfgC/r43qJnPkpjJUMK3CFfWnF3oGB5dmVOLWkxhEAGdXK0HWd9A+adHGvBRpcly1TdwbPSaM/9wvE+q+KxGS5ln8HTa9TCE7DLtQyOhxxTwOfhUAyEi4aPSz3xg6n87IwOaYAPjGhLUTqijS1ltE14rtDg5cJMdhEiqRhSb/01Ix+pYrtvZB/5P/cgl8Ac4iNensrZqszl5yH7wevitHDzoIN3uva2jH1C/WmKsbLDSqfehZFLo96OXUmdtXI0Phxo4R56kJTOHVw5dTjRV2JsK74kQZWKlBBk4SqM0DBE7TdaA1zPgHOVubVdh7fjMWlU74BH9x+/33+Y0mTojx1fWwQnhd3alXBmx8MTLLHfCVNgxeUUH13Kt+NlVuNU9O/sKbKFW6B/2PkOkC/OY7rX8NNv+x3lJgKnmBxgY3DRDeE7HyyR4pkSxTty46Vwvd9eNg12rFEfh1M1X4ubMdid8rmaQW61+aqY+zGiYJyDZOLXIh1WixzTfQXKpbVMiUDInbThW4wGuWYCGCnbGDmV1DNAIj8BuwS7WdRuVHwY71QmBlEMwoxJCQOQecIe9ZVVHZKXiB+QXjTyQFPSZdJSg9yyVPrpipg+lENtFgSOS9mi29KEj29k12kIcZiZhuwvpnyhHAFu4NgReNt1qncXEmicCw6hlOM6TVRW/EvILk6JXw0rpWDAmaoU6o1Qk3dZ6G6Q8t0oxRKKxuWK5oDFeQcsYsaZ42mwdJ6KzZUiA7pHuel7bZwlRmDIC6zTJYEHVxmncjbHulTqN67RNVLfaT90Ftu36oP65IupwLcMpE5AFjOBkUzT7UN1mb2+SmbbQD/SeG5kNYYoF5yktZV71eRP03ckx+uk7ibQdUGxAKT8D/KSaLleu87M8BUNck1UMXd5xgcpmgkwn3gRx0PaHiw+eTTBNMdLJAzRWADX/c4oYsjDjq0po/ZafBV71Z9P5/XfiGKT16GvYBnlKYZ8bnpvrtVZlMz19AoCrjALrZ8UBfMQgAfX6DeVZyHVqYAohn+JqpbxxaK1tvth4eY8lscH0Ilqv2eGXo3qH3Il7gf3CF6ZNVcKHLUvGxjPLx88Awb5W97Gn7irzja+0Sa74icGf9sHlfgjhbgClyYUbl6/pDCwqHeowoO+ON241r00mbF1Pu8lRVh7ATfiYVlsurRx3bxWg9TvCHvbNtTQuICB5N8XPKZ3/FrAsSoGNQ26wPhhfugpW6zcgqSwkW2shGOLqLTM8ljXkwJdJl9leAfDPzJiLuhDbtQZ8iAUDf5jdLKBQfLQoBDTPa/kHltkmLyaVrwKBw7CxiMZNxa04vDhZNJLRTaVSfu0Yc0Jpnd+wOIaseh4rR7vLOLiqy/65Kzs2wDcmRkQ8L0Yji8E92hZJjRJvD9IK2VNQJZZyVK2p6Ms4AtQRBxEGILqoLagO8VFroY9uA56qlr58mBZWG6nJbZtme9gK0OOJ057vIkJT9hekh92y8iy8T2sjL89pm4bccgFPM4cPguiKixVHbDH3StdN1ATWOLEmsVpXXwJG5pYnIi5wywhV2nWy+MYiX0SRddxD3z5Vjc7bRJohGimddck6kQSXQCu5S1Vil+6sdgkCIxjHof5w1Bo0SKagHyJx2gnh9jm/wUqilu+E1fjEk4UZwp7G5Q3Otu+UFXSRWtcPOFzwYML37yyGdyMv4qRW9PTfhQ+NhZJ2imlfzLH9V4fmuGjVbCX8zCKaDZypVWp5BRBHiqpwt+B1QHFRx2FpgkjuhUyX3QVLdUlafvzyEGbdeu38jl7DQg9H51M/brk2xHJnBET0pNrNl3ESNvoqejqELX2OJplBSn5rtjXrVVhNV8WIHkuDpGZc4dZIaWUcHOmDe7RnFemds/Z5pCfIJ2hWkNPtqt2WOEKQPYKBkkmPmEUDTDd6S2QLeYaVAPX4mps7b5zirvjw2yluqZ+Y1ETHqyE0dS/ZHn0I8ePh098G1su9OlCEirWzmbobFUvcvIVUObJr1Y9amCP5nZgOH0J6H765jjSS91ZMcXGVjc0kZ4znBXZzRvoZ0qHi8NYWipTcEIe4qFx/JCQwZZAksos72OSXWMPGjkWVY8nf1GwbCwG9KzJZcEjj0sTVLGcYED1S9WdvI30bcjWWcqfgQGgN9MJf61f7ESHZQO62D+aii03argKuvqEaU5ibomsJcCGLyQPUo7l00xsgfOk0T0z/kk6tl65F5nba+LdAjBk0iT3SZldbkApmf4piRNADvrS7WzRLqRK0EklvzHJh1N8OjiEtb8HfNlrLDovKk1vFw3vgu5vYoAjq0frtBZHVcMk9tRqJRU2KmJxoPs35IF647AtlzorNfG1UfrV1l0xX2BZuoWg3/xM7hc93FHm+pzXLFCmIQcNrzOfYnaVZjbnAGpR+w0QOF7HkRP7VaTu/FQCi0oLXbZHiFxcTZMjLsyJYf2VBIczpAHDOvakVD+xmALQREW46do/8ssIydq+MdTayeT2+A3HSpTb4uePcTB9cvCUQ+TAFUg7bcblUZDOVoHqLtvhPxKmKg9R2OlBhcbnBeb/5CBbx8PC9ubF6UgyL7NkWEPKq5PLxIVa3RNPkFNq27n/nOKjzp/pmcqepDIQMZ30PKXDXBwzyk/KcJuW/OCWY57bzc34LpjOMJN3+7bfuUtMfn+bTsAkbn2Rl4NukG5AICEQdOyqfa5a4Hp1Cc7u/kld93P6pZWZuFy5Uguhs4R9ZL65AX5ZliqXziYWXZ4MY1PNsQdl/ZgiqJVfUrrp6Koxl9Wz5BiuSUPExDhimE/JvGZoLpmtbMw/4axmFmstx0IsnQk6+R1zpfS0jGkvroYAaJsOcKLxyIgjzFdIv93zywwsEgKUQ86CjxxuLPJn/YhwVh5hbcZf7ZuxnmjS290OTEvPXsVXZkx22S7kfGrY0PSdd3fPnUL9k8fWXLTQ8sRTATGprGSn/fGI+c2vLlmQgQqbTuZcbmbZljmzOM3YErymvqMhcXSZPtrWikwSO/MBSAIzON1epa9fbUchTHItzvPgoyYw5QIpNKnhvVChyCol5izcQ9bINWGXpTFWICqGFLowYpvmqbL9JekbXIK9+CD4qvRDrSVWVEM80nZ8mb0e/zCZTIG7OLXS4E7mScesMukeEn/8nMZ/q0rzetywwVzAOQGXd/4K4ejpY9cFv4X0q2C9RRFwK0mOah5AS+IJn4LeAPpHeEsUZb12n+C2ydj7I6XOo6Gukk05D+UDDOMkSNETXdO/OM23Y0xNehMj/TBR8vgME9YhY6MUUFKJ+UBJvpvnn/W7k9ot4HCDzvyibqg2FrlY0UsWOHCteX8zXf5XlJ3KHFf0S73CpUlX1BJUGiadSAgja3WkmaU54ZPnLqvRReyTeOTqvq+FenXpY7i/bCqGeKUasWKscvVTtXJafMON6DXHWB0IUqxDTakGoJYwJnZ2v/Sxi+1h9ZVjQp07UHn3q9mSgzArQ7gQGQpvUfBwD95sD0jv9nNr6ZAQBOiCUHNvWDzUvGvr06NoitsakuxfqvKmnNhV7xHpa8PrzdOag+yYCpP4BFIy4Dm07Qx/kojuh+MxSiBmKJniQTo6Wth4K/GM0MLcMSMY8jNq09/JCIPnSV5j6G7KYuZm+MMmOC8xpYQB9i8H0e56WxIMQgl22oUDq5alZI747icx7Za0Ppvo2cn0dUrDcuKLPlpZyiWgaGVJ/EgyS0EeQ5x2qiy223cYiu2lkd0YhDT9u1TBpIZsDogP0eCFg5LaSuDMITCILRllZmONdILWeucXK5S8XAdYTp3aJEOO9n/lRFUYuWgIIL8vvB+tOotYpJDDRvfo9ohUUxNShEm70gkdkq8qFS5fl7yGrHo5iE8RWxlCLJKUkl+vy3p14aX2muNT354i03r4FlMceF2PK3Q5dJYft3398qG8/rFUSAEyDwvuztRKqp5r6m40lJJWXsUipuIU31IcKRRMsT+n5NHCbGZEW9cPNUHm8sWtIkSBF3jtWVv0upEG6ZZE4QQpVkOMtZh075ie5qEg8bZMIlN98p56/hDlzIBMrQsuhf3NEzJ6RZ30PP9Jaufa//a/IhwTrtcgQ8cHfDDJRSzVYxcACmznftEmNc0Ff+Ht4Ql8vk92rUV512bPINZx9eN4lfyHi4ynVlQLbtIQy/fn1Fgw2EKEKdTiRiFoc95e4hkmUGDU43NjCTRcnZBX26U9zvynrkVZlcgRDtjrRm674o1GmdZeLTsqPiHH5zp8euj6g++pQ8uQVJqcgtiiOmR3nPdTXhUsZ8P5RqB0AAlLIiJaJA396GAHvFNHaYb/v9iyfVDnFi6zkuHcJ8+HA/0XWa68L0INC649OOBGiX9+zCT7XutFSqkyWdOnFuT41+xXb+5tX+bx0svoFbRkvsfxLfpNJK+WSYnrrHVygtoGEdEc7kdKI28wcNMzg33ASk9OX3u2dRmWGNUysjeWA5rt+xCPdVt+wzKL5ks9VhwJk2QLWZr6MJZSuDMZVajgbUjL9zJiUlujNLElavb7uIZfHXZHOy7+UJP3WvHNojcVv/gYje3jCp2L9PSwS6GNAtX7VPjI1BJdv5FJhn0bwU38YZIppdVIcvHoTsPVCnzl0ee3O8hloc/vAfhrXIOxYUg0as4zqMpF1Q1eqRu2fM6uOPyAEbh3QQTf6+z+RMGn019CUbeaVyAYRPwUwVhSYApscN/d2zAZh/Oi0PgyVJVKK4DV0/gCHJUSzRmLN1DEsWfIzMHfeUUH09iKGkYWF4NF0zi2kxc9Em2+07jaRhbIlUsp0t1yLhGWahpxoHaOwEMlBjiWIt8e5mdu3EaX6PviV8e+bAMXL7guV0ZGtdgDuxozEp4nM1X3VLN9flNqlWKvzun/1KN1H+rDnKzoFE2W7gLa/NpPeW/MGxmUWNG30MYPFu+wwggVy0SHcKM/+F2rPJ0680ToVqCHC0483fvEY08A+aDkSQbLpYa6u/1X5bBUkZ3NYwhtXI2w1/4UwzdTubf6oA7dL/ntpoBwBNHqUbxuwM6dRNB81f5jPQB/GKqMshVaWGoYKpiPCUqNkW1M3NVxWlxNUCFFI4HPLhdxf41jG/DUPBnzR18pkS6T1landjv5blISBXLsO8A1AqU/gAsd5sshFH66W3C+Ref7SL6tbgFZEnpc/b0QlQEOErYkQDNmcNBU3IFIstG1jKCVC6Oym50Jo3nGIjeLc3qgHSSk01awB7BH1Q74RrfF/09Bn06oWwPfHJGjXduRXVrJ/11QXglM+eel9TlSHQvG6PXhFia5E5l2FlV1cURd33JhaBgx97AYomn50jwyGzpzGkrXkkfcRKxn/tbDHdhKljAHAfZWnmVy66IZDFDetUemgxMYkxj8wyaugcftyyqTH8Yj1bvigVRTMmNzfEd7oKGUBPUX+WGeWlzsMJtNOJRr5AYzTKPwGmy89zbhd/ajWSUnOdYRltFdikenHPRz+g0VFwpNWfVGJZQZtnv+PmHdDeD1CE1Z5FnjNuoppxXkJe/Cp+NyqBySd4QYe2GWhWHDKCsGj8JfIhd/eASF7bMI/mkPgEVoicWtfsjskg4YWr/8hBHo7DOfVUT4DSVryWFZ9DmW1r7PzDElFZYU2d80jBpV4oetoBFbn6JvjpY71fKibxbbeg/GW9Ki54/HN83ZcVoxY2QvCN8VGcGMRtrOPZDMK4NGo5rzYwfdIKOx5yPBxf8AnY0pzHLi3D8uUi1LzeSiQ7yJRLxcSEV2wlQlcQIr09NL5GhR0Gsze/B2K/6ILFLSwcVjQC1M0kDlY3n496juSfpBQ3CwOHoIFHgdNgA6bTiku33gTXLApsrKsuQThi1lLo5EGzgFLEUAmQzxfmkpZ4wIek0VoqRWZ7KExJM/s7+UYTfffcWkJGUv+wQw33QLxD42FNKU7aEfRihk91b4X/lwHk72JXpNK2HM7fMPIBL/Vxsm5nT9hk6oUev9u01gzwSJFT/t/rGgtKM2A731tc3AWC1c4n+QpVAuUw1uvolqmju8ET2T3rr7Gp7Wn2P3zUfB3aoFJpEeVXoaeA02eN7SfQHs/+MrWSH8Ugc2qQWlGAQxtwZIB7AujRZxylMbMr+Q1iO8kI7Sow2af4p2s44P2cGyHE8FzKcuXbBWGIYoiUdg8OGZTAG3Rt376DUL6jfyZPjM/O8hNOZHL262CJuw6JyoAJKnFKs4HBIO/qWgTEVHiCOmpCgVePaPNPCM+6/H5GdBpnTEq9L/8B3Zl3yIFf/GaAsq2Dg8tThhjJN51qYFKvLjMT4mJMnDFKJ5dQx4PHNIQ/TbK6d6mu8vxI/Mp2c4nMINMqTNOOwNLA0Kj5JnylwHBO1onumA0xGc+VPny/yM3kSpFw1L0s/Fr/Ohkc3otxJ2wbRiHgbIIdjhbxSILJeJqrvEPVGP5sG0wKqOW/K+dl5AdHnFMQpr/ZD4Uh7D2HVMt/jHtujjwEMpsuPf0Wnfo1dDDI4iMam9WymVlJ1EHK33zpynvkKC6vpsaKQpLYRmTRUJABpFZrTfWvs1skiVy05mpONF2etYnwEW/42cB7NnNmaC0zus5UwsTwhqYs9ocPnlsOd9p1NKlcRU7g1BqYlflWX86pWban8UnZqFD//FwyoEcGW3FPaAhicoRWAfY+sgSaa8iXY3yiJa6NPW3Vdz+SJMCImaWfG2HKoOX+YAOaHzwAki6EAZuZ8ztK8UwUoKcAvDVwgkEQe4dmzkM9qvAYiwP2Cnh/8unhTmdy7ZWAmSM4j2oOTObXpkxeUglNvdukw207YrAuso5k40Lry/mO+hkjlSJ91cLHWTe9KbwWMHNnYDEFYjjNinR0Tjf5lKY1KsxvhO9z8c2mTIyV9UlvQxYd6q1yEQA5HF+XNXcH0B6RyKB94V87wKx6uMf6/WgacZG52kSJUHBBoin6DMa9HrDEvaKflKhVgTSJ99xRkSo5iHWmrSrZi3qAj6cLf9AqbskbZ1al5peMKCxY46vOXnzMj0vNxbmW7l3xI54PV4R2K8CzklkiVA+BorAWd4aWVvhCprU221kEkt5hoKFMYMySemvEuTcMFfibvb0LT7/GLF58lk4Ai302JRytdq51GGjryE1z8/iuhTNuHIsMdtad5jwvQLPJp8czv3FQKW88YDZ7Y3BMKz3ngzrfq9bArXo+K4h532QOi/rUjhCiUCo2t59feuXxpBWlPnadODCH1mcA6jBOwMSkO05nku71qouyv73Qablf3vhe+MdvmLDE11fbXkCvyjUcyBl9MHRSkVi8m8eL9oEYAc2eNMQ1qL9XiB6dvmKYCBvUP4POCSzaVwbMc9rp6yyV11pTL+kxws+18uE5PQL/+mCiKxZ33tdgNEny/xnht7OM9Ivm76plU3qnelKc2ITKZLayUfPfu3LVUAtIbwZf1yReHMoQ/ycm1CaZF4qBqbjaRaUKBoooa6/v0op1+nMCRAzQQmBZQ/wdIc+sShxpDjFjr75frdMdfFF/azA3Hy68u49DXyG2RaUGr0u4TNE8FNM8mGK72xjSgyualsniGiSQ+RAyyZ3PEtw7ErqXjSWBq9AAFob9g23VvJOq83IW/R+LHrGe0/57j57yifL04XHOMYdsdIr/KfEO9CPjB2Nua9LROm+/4mNHQYIVba0ylPaGo0bO9REx1Cfat2nC8De+AqBuSFfKOOtGm1HohFmGZYi7yNFNUn4U3LyBUD5O8dqE3NOZbqF6s60CjFnAOq+iTMQX3rsMaFoGGpPScjFhC+gs/wtjQl/duqcm7/2idYTPDxd4r+zJdo+XarIIoG+bQlA/FKrMeGsO2mor6Avxvd+JdpTUA7z9mXbCh5ojesWWjXklcAYZtz2oXESKRxHfBw34t8gwcxrOIzI/y8cXh81tyuOlJXd53SzAcbz3CqHP0XGlQDBNs6bMmGMTdid8y60IeukddDFvzuOBJC7BXbPPfzOcMAgsmFxF/nHUlx0JixGW7l6mWs5roI/K+1fnCYZvlJuJUAsSCwVxfgcafqWPoemJbeoOOq21orhpAt7eJTppSV8d/e8C79QZ77M0H8Fd++uFu0kzIai1sUaHyKkO2d4KUhce4xN1XFfdM8cR5N7P+78lXDs3u6gBmBiAzeA7ylxedwuKCsqE8b6Vms7Yb8pennufwLAQ14wmIOcFqBlJBDub5bR9z/lVcp9WyfOkAoqpYP92oGkYKfahjAZuF4RTyqkwF4+Wtnp48IPwUzUZHZMZ7UipHcZQpfn3TpbdjUInLsFOKdXxwCIgm9Shks0Qtp79E77LhwkVMlj6SOLRIh4lQtIp9JrHu6TPr2WKm7VzulvS+H5IXmaiEYx1xuj04yL+YOO9c0GFZSu4KzGUtnpxa3sE0MpdvR97NWfClEvO1jLxmw5M8WiVENHIxWnhgNOP5yKTzeI6g6SHTrPi+blPSXKiRD4+oQJEzfS/r16NTddF8s/5KZETWZWdz8qUjZ2YftCgTMpo0ikjigG8biH6PF4qZ+FIhZf3MPEsrpblZGRNqpIuVbdEyOF55dlvOrr6blccP4MP+aD9aJOU5Uror+NrD46SOifh1f/TfIuiZVcpfYQTbXJCmvNko/O8i4dImug1HKXSZjqdqh7fmz50eKa+ScSxGzXl+SCHFwCsk1XeS1FsEcu1Ve0Dloi8UB8sS/++k9+XK4FKF4Vo5sc1KrbkzhHxBGrOTztK7/wuWq7oRh73acHnnl1WVTnMyxPbm9yWeOt8R4UIUsHVBbjrVjuwhP33UDQWbNLOVLYOHTsfhnJFGvZRB8hPZyb27SIraQH8j4P4eF4wAAGkIOK7q13ww77O8hG86NfDURc7qd4junwtzeqh/krO6cAjV743Xff6hb2PAwdI4+GQwFgN1AfxtYSo4WNUmCqZctLxd/T0PGt+VHvOxhvWP6omhcjVyfwJHWFmPGX2+Rp7Uhe54/x6lfoEnLKCVfOthWYVLtqL+Zgi1isKsCId67Vo6ZEMqoPvb9f7QIcM2PUPX/ERVTa1U5uJFMzd6aOhlwiR73SbHJvOtW3LcLh9DSXw+vi01EzMrKax5CMSOdmQTKds4LUFHwZybUgYS13KFJq7hhJnAiXCD4l9FxCWXQZ33YwasQYFxMrBRZRClzOEMvTB9bXGxOWzXDDzra+cGfs0IJM6+npAT1MP9jbJiEzDv8RirWEte2UBJSaMtqaiPG44OUqlfBInH5eiMVMgFOA6I8lIc6A1rVDOkzfu59Yg3m3aTqsBqSlUpMC0n44xBf0V72KcAgv/+xiL4QksKnub9O/HmAjS2tRtAQ0dFdll6O+1q9Iz//QXbrIzJqkuOnCbeNvdUVGCyZPPLIWQ4/jr7CXC+sXuVTFNKAd6JXnVQpjtfj/fmBhbH+eZ28iEbw+7DLEZPLfTIz0o/MOi5jeCAVDEdqAQyrF/giIUuTvjK9sChARTzVD1T0ZHUbBo3I06J8IMLd1yw8OEw3N6szFZ7ceMNGzgtAIXqDWo5SbWO51q4J1VCRW+ScBzLlfHEOVmUhv0Yf4wpwKf6DB3Y4EDKTI7royOviJDNRKQ0cCbWnBktbPXL2D9J/ZQDA0xL6ObRzb5jCCPUVTQeNhX1du/q/MJJLxBlk+64M9ld4zZxc7X1siGjc+M0Ua/7q0TcGSmLIpy9Ap2k6U85vKv3dovZQHrNNbVNTA21gKazT3Bd4TBQ5y5x2RBKjG6uy8d5LlCSMVko/6/tkHov57GHfmnvwDTORPZ1zIdQITuibD05qf1Jj3OtZxY+r1gosWrGGG617ckgk49sF5FA9ySi0rzrFPRiGFlSniOCOA4ltOuQKiB2+OwAsneLWv1ag4z/8+yO1HMchibm6dKpusv2ioKQTwoiycMnNfs+9T0yYVZZASwzIPyPCrJYHjlrsV56m83HMiwkOANnYt9nR7pBrZ9TkBAsAwJgXYcmU12ecmsU4Hfx7jyiPCnrKaUbbc+b29FkFWrzpHVJTY8bHRkEWYUdUWWgKu1VUKZ3YQxN4hqHEzHNQh3tNrKhYxwWU0xaJvAsauMYODj7NgLW7PjPyP4H4F0+GLQg5HbEt+bC5LqU7k34gDJQoofuR4GN1KIQgHQxWQgtTzLshJU3K25Httqb5Fr8xn9C90k7nrIdc7/8nWk7GKCKVmIE3BBx3Vbi1EPCqur9sNhDUqvY6icPVTiTsfE8dKT/EaTkZXU4xm1yfJlBbcUJQk/z7ehDICa56qs+f1ylldsOVPgeV01qAwS4pe0dAEiDEM0o6MF+XTeX3zjmsI4S17PmXITA+fRzO1VYhdiG7weMnziIlJpAPNV+RP6DoPakRg+0sDxEQJ3o/+19nDLOlxMPVntLjaMGaszmkRVYeOEmxJGdvbJjZrU8BQPE8Ip4MAhXVCc1mic2JhSSZaKSE7avYOeZW19vHtLjv1bNX9JttrZMAysAftuMqOq2/V5LqKy6ycyQUvCqp5TGkTvr6Z+5YvNS1HizKGyuM9OvlRo49J/MqKT9Uv7J2s4crDcn+FRiC2p4GH07TzHdFV1fRU8fd62qU9BHu89ljFVXT1e2B3G0JiYbdGsAMypU3GyI0PDsJlO8wTpKwYAteM6FvKSA68vXASersSK5uTkB7NWZnYeDLhXDLBaOGusKefL0SdXaQEpenEVCW4jPc7Kisc1HRDEHoAhN0Sf4NC9j3MRqbrhYh2O4sDqMMDrJxd949W8NyE5zVIpz/IIzI313c08M8vbyMQKfydZNWTsQVPY+9kZ27jUy+Ao7bKzBpJkT7O5X1rVpOY8ZrG9iadsjtZFhThhMVBrepB9LYecJWT51IQ+KtfJ+NQGIBue4v+LMEbENdZ0wAmaR0+UW3Lz0l7Q00WLQR65QFXTrd9LlAa+qaqxulf5EeTUDtex+HzZITZbZgzQOYGvMs1aBM9iIy2y3v34N8PGa9ZfKuYQcEM73l/KbQgtRC4LY9mdJ8fltSr9ekM9bY3LpbsiBPT3fiuXkqAqvCMSKPUJ6Hzd4FqZBZKfgqI1jhLcOww9msBY1FozPO4MaO90qs5lsU2Tu//CcQV0b5Zct0DMRP1Io4p57v9TSFJ1DC4yWnaiclqM6GArG7TIR5h6NIoqWsxIH+S0GypKpftZkjfRt4Kx9pbdRigDwuEDxmAWHuxsriRsPAL8tgHdxHDnl3OOJdKgFyq1FeIVuoNYlfe3KNRSkpArWYPuA5GXo7/7FYCy7w+PnYnpWxjXHMQWnFFx2N/3/tsU/mVehdhvjuL2zes19XK1xMHVimTSfXnSOliPrnOdjhQeyEviHTl/fy/psuRuUvgB2kuPNdnzhjz3igRV1mMUHLqf/IRxDr36TVjXz/DKEOpqKsWshjyouRlxAeKPphq9yeOJKV6NeCAzEFCGee+WssHSui6n+ESyYX7MOhiL46zTbEJL70J/Z9hG4JWtdZU1ARo39wD9SWdTQGp10WYevN6KUsdlRi+IN47ACbxbfgrlP/1qxTGZ7K/PR4cWGE3yyHfcy+nStRoqDpmzscl62ODALOEXqhjBA7VNBcYabt2djd5RVg0E93D2doNWdkJxH8qAUmVtqRo4gLY4HWP0DjIlZ9AyYDK8eycHSEiQnXbKTBDRGRmjU0IHIcLe0e1EQJuumrRvwmYCTZ97aXDTzS9GSfc7xN4TGKR75Ylj3qkAJNGqXF4ZX4hajl1b8JkZnXYU6PNZ2qmxe2DGJ0fiCmebO3afVBf+mxvFu0VQzT0csqA/89SjH2l2njJbKk8+RMMi/QXeHIHElvcRNoZengNEc/5JaPOmBRaurOT430r2rNwBUz9S9GU8Wj+LRphqCnhA8bs+66tGqG4ZNxg6l/F8C1DbLDyG24+BdBhUCNJNkiDfNZVRH+zRBAjOZ3v5O6AIzhQPCjPCwwrIZeqFXChzYP64nt/iNZHnmo6mRVhTTDFMeRsucYrn1VxFyrKRXxaPUG64K/FtV7NdiiQTH58Sod1RXkQed8lyWfamKPTM7RrtnGEV4U2PHu5fQEk60u4DWMi1VKpQhIYJ4kqRU8AKFeE4s0Ly6PHdiEIKbDpHMSy6GjH/lBzyBmEgY8HKzyQC+X3bnmNsaNg4Rz6Sqe0AswZe9wIfDlin2bD21LqG4p05rN/iluBjdxOnWuPXE1VW7K/5YUoOnnQHAKFzMqHEvh4hXGzb5hYXOOG49vnHhcauc7QvPmJVXfPqfDANrFCsWRAveGXEIvrT9Ax/VCQcdHxJrfNFYepVrKKBeLsJ8zZHKx3QxjCNWQ+wEowIO3/Rg+NLfn1/Ku/jHD628v+2bW3cQvE0FEmmIFDQ+I2evB9I6zUx+FJXyuiqAq3qY/VsTnmoKdSfKPyZAq9PGayTZSidqJm72VHSFD+dF/8EGX7b/XgswH0PdRyH9Zgw2lPLOEvApUNtGBvXohbtpqpJB2AyZky0yx0FCY7pQmSvk4nxNZRYwzPwEdpQgPQSmdRuzQgTLvRufBn02+D+5T4xX3z84IR9DsGjnH0iT1uj3EN7oRv+Gw/CbQK2glKyX5IMlS3XyeS3XMwlZooch1tpLUqQ/YADwdYbhnLELyJEI/61mj1peGuiwvH50mkfbxK0+R3twqIpXvWMFSY0ZnUz2SIh0bYJG4ZBRpEgVKKE2296TQ8snDlhrBeil14P2WPniNxp97uiEzxkS86WFQI5noj+EEOUWPdhsFTKYACI+wSv+cgHHlyt8CEJ2OYI7KJaveS9PCz6GnMsINnQoG1DqVHlPZOMiNmEjmXpKOrsHmaC/djX0zzCpXAzXj/uon+f/8oN226QPKINznFzr3UJWrLg4X0RNIqgOL4iqd/2PYMk4akXuifjTIBOIwvRTCUXg/r8MaF7W0MSvWdZaC6oTMjkV645b0ru1LJvmbpndxNPkQJN/54ITC/kVX0Kfn453T61rsiUdTsI0Wv7G//GvR5HUc33A68vD0/V0xMdiLIJCLQB/Cjj+5dGgW1mmrAmtxYz46P8VTDBk6tAyZz+yOjwqdpp+LZUGEUZ4OZ4a6al0g8S/vktFGjlw39wjpFX7TdhZpKsGDYkEDaEL72xRabS7aG1xCWQ3zYls7znNoWvJP6DQ+GU0gXceFIrxGDskx8c2JFtPXmRM7OwtCTCwPAZuJQnVkXqD0FSPkiRacfrULTOzX7gMOudBhIhZkGPVP25WDhQ2JA57FnLrglMzEOB7RI0uFyDOatStNHr7w9+Xh02E5IIQQP373Mv3p3ofWoCHifNjNm0pHZsx51naHgb/2RtHdMqi3HBIf2MnmkIHXP9PfX2PeNFjplvrNZzJP4aT7nXmp9SUUnO/FhFp+skGsa4QiWfMZYQMyBbbiLft0Dh+YmZ0h8poPsUgijS/T167/QPD4QMOA5J4yddPx5PtiB5YOv6gosFUgetAjrNzgXEtMoee249GXuaVYdblbjFtIVh++5mRcBLPlVJRaC1wffox9RS6uW8Ytsy+qxL/Q3XNYGofz901PNfjW0WFhzjhHVIxnEqQ4OzQXJfo+0u0z16nuF9eAi2LzvbUjhBp+jpLggQ7hYewP8Tgxy4ghnuaugouC2Zdy/0aaMHP/NGd1Uw1PAKDOCNt6C653Mnf+09dm/ipMm78vggvzYv6X5ee/hp6DIg4UI8FlPIo6MuJqSeLUnvbHtV7vZ01p20jXuZllSEwedqelrP9hSTug/RL3qzrWVpR7PPwHj1hp9MDsLycfnZZtdNTZea6YRgu+Em96tzKF48RXamDNXXuIMVfRBRTvhI/pP2AO+JZ6vSeAeNTyeUo3n4TKh68MVtBxdw9VV+l8xwN0zQ011yJXkyd/mUTuHU1UmSKVL9w90XfhSb5eehSjea5YhojIgi50qLPDF8n6T02ZlC4QNtL28G1C3GGQ9LXQ79NVb2gsfYUckYwBQFpqxsJciy9xp3ojy2yZAmEdRpO54vcnyx+wEQQYjQyH0pKqe9+oGh6KGYzUGRW635Yart2+5l3YDku1Ol5crbVkwxhX4wDoIkTXSbigg5BmxOB/20IYS2EtPJks/mhn1Nz/YpRgfdD94xJwTEa+AEjwWpUJ+LPpc4hHnUFVCHhXOzEd5vq90PuqyqAPdr0BkW8H0q9+VfGw2Mj+DHk2AvIjYA/G5uPKvQl7HsCNZDK9NJdkT3udxbb/GK2PR9wQIC5dPBOZgqg0NJVYXuFijNl6DlLAGnYL5yEkkwQaZxNRYbkZs94vkC+8idDkK1KWRhkovuprAxN41+iATpVFhczGHj4FBNv0bQmZaGcz/lJRkDpwC1FmaqRN6uHIIcVF5IZtrPPRI+OM12owbkdauqdaehI8BimQ3mm92It8jItMItyWL7KUP1B53nTLE1haOtZH6UeAgdECa5MnOwoL2bvD5ujh+ONU97oG//1nOhF4vPuausw8neETxwVjU/fp9UtdbLP95qY0oXJxyiHmDC/bDVv+e6etB/mZ9xG0nQDNbZGFUSX3vSbjCvs8NH9LnkoHNjfhF5NFvI0yHfKo+jO2eXGxSbZi8h3fnFxGVLuRzRg08waa6dgpakMTRAW165TgDrC0TnaU3wMfR92sCmfDbSvy1IWWivw8ZAdlM2DoOtTIheku6EpJykcGQiNAyrq3MQrR7YPLbXnoMTZhPoGxHYW1A5dPzIMoIPhwHiIoUAyo8vhb1RBlIwDnPShwdtZIpUH0FW+nUuT1mvtNFaVgqUUlpOmrPj1Q3tBdGW2fSHC0MW/FhS4W/Z5kbbNN8RLeFnXBlPxDop9DSGX3AFvTUuvOrdToyNruPlnsDOjYW981CVckzpPsuBQfnC6qzleJy3JVzK95yEGiJWPA4bCywg0rRw/cr6P0qn02wWw+hO5dlaA2O7+/72FPdhyQ0fQSXazSYsUqu4n/CqTVxCStZkkTF1aG9UAarYIIJe4NZTxfabkdMuLxvcMJJByRLpc0B3LEV8uIpXEnMPP2ftPJIZTZFGc//q7Hfw9AObtRcLSrdNf9byy8FesuD4UtPwhTZLk5qa9AXRlgQP/4iKvoHJgpJDviiokWbK2E1prJ088efxwVojzvNELDBCr+trbr7cikRq3lRJf/cpd9MCUbFWhKs3U4bzIgUFjhib+1xlUtlOUJ9I75X/Oe/nGHBpxamdCVX5LTM62NZTJJnty7Eq6NzshVpAsvY0dd67x1JbcEahBOmQkftaMESFwb1oi2VD2WZuNYk7eBRmgoMO1fwHId13gHla30TniHJkEG9MOvjy//ivlyE1jm7qN2KGWABe0tDxe86n04P/NE8NP5iEmWTep/lDaweUDJMNzDj1VJPB2/EZlDi/nnAAxsyNuu9NYd1ZvSfmkEKUoWyIuvc7ow4bgHT58NmOpR7QeKQJKOZXJeU3fKzLO+8MLNYlu8pntsxZDYoCpUV6FxhXfpfkSfqzfohrnzEGR9QyzaZCDYNQIXc3pKzGZhXXUvUrWcThC4ds/VL4PtoYoOqhRB/vHThfXKhCf4uzlf2h7c58ZeFyNczthxMyiqjuOwZtdQhzcURVmVT0vod7v+G3DyjjttK1wat6SyOQasPPlKuIyBxk1ZzXsLt1dv9OeZSKe3/G2pIi0YoDl9jGw/xyo1ah2lF49j95yjBm8/htA0Qyb5WaFdgfayq9HmyPnnxDZpgPo7YDsH3TB2A10fhxI9GTyfdTiJSyu3/KOWlrw/3KsCiXtD8Nu/W4mQ+5RSEW7/SQ4awasVCkS3F59bXxRTfpAUxBGXgt/z85ZNU4Byq/5AAwII3EwFJ8XYBkftxBx/tjWn+YuxKcFpgCCV9vTkaSvjS6FhPVVRqrT7WQh1IiDJrikmg3HVH7aN4LZuXSn5rhgH1DyZwoFqC7hqnMkSZZXyKgsFHtZZbWunQPO2coIq4s9N56wTQU7k0Pj1kT2vlv8nI4YsY4D4eFxonusjAOTAOO9lbRxmjWKfs/JNpEGowDvTotqa8YaPyrZO5PHQ4i/5/BYXa3DC71SUyU4etNrvCORltZ8MiWYQzZi6De1TgWEhksKX5yBuOHMXsnNmWkCJ8Kme4l3py3Q3otnOAphWLwSnha9EUUdeVKlJZn8gKiB8BqJlSiz+1/w0vblKc4yNGRaE5B/jw7Cfh904gypeeu66K4SKuT/nTxQGOgKv5PW/06jpQtoegboRpUHy9X52f1KWtPCptmZV0pmNS4KVSiI+SwV2qAIz6tpiK3H/W2GcltHzRDqnzL/D3Gyft+ByUsKB8QFUCpnSrgf8/7oYeC56/qVV/vOiXuSpZFX9uVpI+KA3uHobRPWDIj2WSVrCdgFKrk0lTWhtzI4XlYfYdJhau0Zr33SWhpheuS3juHNDI7esfkE3r/ZCOgXGHsK29jxAddCofEdNmKBIfQFPMrhPXL1VxFglfIXLo/zuIHJSLFsReOiqm71CzYJZLuZNBAbNpUrtlR1OZoor1gR9qpnX7nZkqWRBGUSRxHDwLUFcNLApAykSBqfDfone5Y4x1cqeBULY14jNEaxgztKc1SamKdSyuEbUfEpT/gdSkeKDnXvsPY1MOUZnMDYxAqNxHsF1QZI22+LHzI3f2OE8eyoR1tNevYkh8UNkhoJIN/o8W+sjSwF4x278190igBsTNe95eiqREihe6qZAGI91ktDDCR7EjLopyyhAh6u0EuO07X+CV8dbEO2VAQbiEY5rxMxwmx2lqXGVNcGo/ilWziZrKZ3RnvyrGA7LZWvVDWQ4jovHYNHstwEdKxVQjyRwq4nh+GakCvaPwlts/uvJB7otY7/OzH1ROVjSppSioDrbiV32gO0SwSRGXcbLRzkMPvvUymdu3OlYBE6ZGZJR1yAd4zVcJMV45LPPUVVlqNxIDDmiYYH/c6D2dl7zJ1Qjgia3v17AYdvuHxequDlWBlt23FT743sO6hn2YR+/mnLPLUHRaOY0vJ15AHNxk3mbjFvTxxpyqKh4K7haObNN9p6yW5P6nSE0rUxI3L6p3r+Yy04nof9cC9USB7uKIplzbilSWP8JA8CVFH6IyjQVYuPqG2PzBKsQFISie5Ko57p60kopvpXVKOKyoHaE8HebXf94GE8bqc7lNN1NHwkvP38fpFjdTGln7KJr6GHgmKgKrsnwURdN2kgFvCOI4Vej+YEPEf9mUHphJvLXxaxdZvGYaTAwBNeM8e1IVUBKexoUuTPPbept3GqDhC0JdPHYWUZiN3yF8P1a08JDI24++njSeHhCMteZ36Qwzl1XlEdzqEVsJDaN9KqYa+3Y92QfFJxno3gn5YpvKNXUcP4GaWnVR6S9FJHPhOpCcyazqYWAZPLaUYze2mbyxcCs/t2NY/RmcBBD+bbT+jRRpOINs6qEXW+s8n/JlfG3WuO" title="Mekko Graphics Chart">
            <a:extLst>
              <a:ext uri="{FF2B5EF4-FFF2-40B4-BE49-F238E27FC236}">
                <a16:creationId xmlns:a16="http://schemas.microsoft.com/office/drawing/2014/main" id="{99FE2765-97D8-2EF7-89D9-6A4D4004E470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3810095" y="1791494"/>
            <a:ext cx="4314933" cy="4528230"/>
          </a:xfrm>
          <a:prstGeom prst="rect">
            <a:avLst/>
          </a:prstGeom>
          <a:blipFill>
            <a:blip r:embed="rId17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1776" tIns="31776" rIns="31776" bIns="31776" rtlCol="0" anchor="ctr"/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btfpNotesBox255075">
            <a:extLst>
              <a:ext uri="{FF2B5EF4-FFF2-40B4-BE49-F238E27FC236}">
                <a16:creationId xmlns:a16="http://schemas.microsoft.com/office/drawing/2014/main" id="{6F40655E-3987-4973-9F3A-9DCB55607EBB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339529" y="6442834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Meta Ads Library</a:t>
            </a:r>
          </a:p>
        </p:txBody>
      </p:sp>
      <p:grpSp>
        <p:nvGrpSpPr>
          <p:cNvPr id="49" name="btfpRunningAgenda2Level294467">
            <a:extLst>
              <a:ext uri="{FF2B5EF4-FFF2-40B4-BE49-F238E27FC236}">
                <a16:creationId xmlns:a16="http://schemas.microsoft.com/office/drawing/2014/main" id="{FA4B8A12-1F1C-13DC-6F35-41E6F3A395A9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0" y="944429"/>
            <a:ext cx="3737297" cy="257442"/>
            <a:chOff x="0" y="876300"/>
            <a:chExt cx="3737297" cy="257442"/>
          </a:xfrm>
        </p:grpSpPr>
        <p:sp>
          <p:nvSpPr>
            <p:cNvPr id="46" name="btfpRunningAgenda2LevelBarLeft294467">
              <a:extLst>
                <a:ext uri="{FF2B5EF4-FFF2-40B4-BE49-F238E27FC236}">
                  <a16:creationId xmlns:a16="http://schemas.microsoft.com/office/drawing/2014/main" id="{872B0EEB-7E48-EBCA-A267-A96C7B8A3688}"/>
                </a:ext>
              </a:extLst>
            </p:cNvPr>
            <p:cNvSpPr/>
            <p:nvPr/>
          </p:nvSpPr>
          <p:spPr bwMode="gray">
            <a:xfrm>
              <a:off x="1" y="876300"/>
              <a:ext cx="2592724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20719 w 1120719"/>
                <a:gd name="connsiteY0" fmla="*/ 0 h 257442"/>
                <a:gd name="connsiteX1" fmla="*/ 888065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289034 w 1289034"/>
                <a:gd name="connsiteY0" fmla="*/ 0 h 257442"/>
                <a:gd name="connsiteX1" fmla="*/ 1065998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390025 w 1390025"/>
                <a:gd name="connsiteY0" fmla="*/ 0 h 257442"/>
                <a:gd name="connsiteX1" fmla="*/ 1234313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4 w 1390024"/>
                <a:gd name="connsiteY0" fmla="*/ 0 h 257442"/>
                <a:gd name="connsiteX1" fmla="*/ 1335303 w 1390024"/>
                <a:gd name="connsiteY1" fmla="*/ 257442 h 257442"/>
                <a:gd name="connsiteX2" fmla="*/ 0 w 1390024"/>
                <a:gd name="connsiteY2" fmla="*/ 257442 h 257442"/>
                <a:gd name="connsiteX3" fmla="*/ 0 w 1390024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1 w 1390025"/>
                <a:gd name="connsiteY2" fmla="*/ 257442 h 257442"/>
                <a:gd name="connsiteX3" fmla="*/ 0 w 1390025"/>
                <a:gd name="connsiteY3" fmla="*/ 0 h 257442"/>
                <a:gd name="connsiteX0" fmla="*/ 1558340 w 1558340"/>
                <a:gd name="connsiteY0" fmla="*/ 0 h 257442"/>
                <a:gd name="connsiteX1" fmla="*/ 1335304 w 1558340"/>
                <a:gd name="connsiteY1" fmla="*/ 257442 h 257442"/>
                <a:gd name="connsiteX2" fmla="*/ 1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1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0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0 w 1558340"/>
                <a:gd name="connsiteY2" fmla="*/ 257442 h 257442"/>
                <a:gd name="connsiteX3" fmla="*/ 0 w 1558340"/>
                <a:gd name="connsiteY3" fmla="*/ 0 h 257442"/>
                <a:gd name="connsiteX0" fmla="*/ 1710625 w 1710625"/>
                <a:gd name="connsiteY0" fmla="*/ 0 h 257442"/>
                <a:gd name="connsiteX1" fmla="*/ 1503618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808857 w 1808857"/>
                <a:gd name="connsiteY0" fmla="*/ 0 h 257442"/>
                <a:gd name="connsiteX1" fmla="*/ 1655904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994805 w 1994805"/>
                <a:gd name="connsiteY0" fmla="*/ 0 h 257442"/>
                <a:gd name="connsiteX1" fmla="*/ 1754136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2155105 w 2155105"/>
                <a:gd name="connsiteY0" fmla="*/ 0 h 257442"/>
                <a:gd name="connsiteX1" fmla="*/ 19400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323420 w 2323420"/>
                <a:gd name="connsiteY0" fmla="*/ 0 h 257442"/>
                <a:gd name="connsiteX1" fmla="*/ 2100384 w 2323420"/>
                <a:gd name="connsiteY1" fmla="*/ 257442 h 257442"/>
                <a:gd name="connsiteX2" fmla="*/ 0 w 2323420"/>
                <a:gd name="connsiteY2" fmla="*/ 257442 h 257442"/>
                <a:gd name="connsiteX3" fmla="*/ 0 w 2323420"/>
                <a:gd name="connsiteY3" fmla="*/ 0 h 257442"/>
                <a:gd name="connsiteX0" fmla="*/ 2323420 w 2323420"/>
                <a:gd name="connsiteY0" fmla="*/ 0 h 257442"/>
                <a:gd name="connsiteX1" fmla="*/ 2268698 w 2323420"/>
                <a:gd name="connsiteY1" fmla="*/ 257442 h 257442"/>
                <a:gd name="connsiteX2" fmla="*/ 0 w 2323420"/>
                <a:gd name="connsiteY2" fmla="*/ 257442 h 257442"/>
                <a:gd name="connsiteX3" fmla="*/ 0 w 2323420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1 w 2323421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1 w 2323421"/>
                <a:gd name="connsiteY3" fmla="*/ 0 h 257442"/>
                <a:gd name="connsiteX0" fmla="*/ 2424411 w 2424411"/>
                <a:gd name="connsiteY0" fmla="*/ 0 h 257442"/>
                <a:gd name="connsiteX1" fmla="*/ 2268699 w 2424411"/>
                <a:gd name="connsiteY1" fmla="*/ 257442 h 257442"/>
                <a:gd name="connsiteX2" fmla="*/ 0 w 2424411"/>
                <a:gd name="connsiteY2" fmla="*/ 257442 h 257442"/>
                <a:gd name="connsiteX3" fmla="*/ 1 w 2424411"/>
                <a:gd name="connsiteY3" fmla="*/ 0 h 257442"/>
                <a:gd name="connsiteX0" fmla="*/ 2424411 w 2424411"/>
                <a:gd name="connsiteY0" fmla="*/ 0 h 257442"/>
                <a:gd name="connsiteX1" fmla="*/ 2369690 w 2424411"/>
                <a:gd name="connsiteY1" fmla="*/ 257442 h 257442"/>
                <a:gd name="connsiteX2" fmla="*/ 0 w 2424411"/>
                <a:gd name="connsiteY2" fmla="*/ 257442 h 257442"/>
                <a:gd name="connsiteX3" fmla="*/ 1 w 2424411"/>
                <a:gd name="connsiteY3" fmla="*/ 0 h 257442"/>
                <a:gd name="connsiteX0" fmla="*/ 2424410 w 2424410"/>
                <a:gd name="connsiteY0" fmla="*/ 0 h 257442"/>
                <a:gd name="connsiteX1" fmla="*/ 2369689 w 2424410"/>
                <a:gd name="connsiteY1" fmla="*/ 257442 h 257442"/>
                <a:gd name="connsiteX2" fmla="*/ 0 w 2424410"/>
                <a:gd name="connsiteY2" fmla="*/ 257442 h 257442"/>
                <a:gd name="connsiteX3" fmla="*/ 0 w 2424410"/>
                <a:gd name="connsiteY3" fmla="*/ 0 h 257442"/>
                <a:gd name="connsiteX0" fmla="*/ 2424411 w 2424411"/>
                <a:gd name="connsiteY0" fmla="*/ 0 h 257442"/>
                <a:gd name="connsiteX1" fmla="*/ 2369690 w 2424411"/>
                <a:gd name="connsiteY1" fmla="*/ 257442 h 257442"/>
                <a:gd name="connsiteX2" fmla="*/ 1 w 2424411"/>
                <a:gd name="connsiteY2" fmla="*/ 257442 h 257442"/>
                <a:gd name="connsiteX3" fmla="*/ 0 w 2424411"/>
                <a:gd name="connsiteY3" fmla="*/ 0 h 257442"/>
                <a:gd name="connsiteX0" fmla="*/ 2592725 w 2592725"/>
                <a:gd name="connsiteY0" fmla="*/ 0 h 257442"/>
                <a:gd name="connsiteX1" fmla="*/ 2369690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4 w 2592724"/>
                <a:gd name="connsiteY0" fmla="*/ 0 h 257442"/>
                <a:gd name="connsiteX1" fmla="*/ 2538003 w 2592724"/>
                <a:gd name="connsiteY1" fmla="*/ 257442 h 257442"/>
                <a:gd name="connsiteX2" fmla="*/ 0 w 2592724"/>
                <a:gd name="connsiteY2" fmla="*/ 257442 h 257442"/>
                <a:gd name="connsiteX3" fmla="*/ 0 w 259272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92724" h="257442">
                  <a:moveTo>
                    <a:pt x="2592724" y="0"/>
                  </a:moveTo>
                  <a:lnTo>
                    <a:pt x="2538003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5" name="btfpRunningAgenda2LevelTextLeft294467">
              <a:extLst>
                <a:ext uri="{FF2B5EF4-FFF2-40B4-BE49-F238E27FC236}">
                  <a16:creationId xmlns:a16="http://schemas.microsoft.com/office/drawing/2014/main" id="{AE437997-2C0C-A560-0A84-19B0C38E4F76}"/>
                </a:ext>
              </a:extLst>
            </p:cNvPr>
            <p:cNvSpPr txBox="1"/>
            <p:nvPr/>
          </p:nvSpPr>
          <p:spPr bwMode="gray">
            <a:xfrm>
              <a:off x="0" y="876300"/>
              <a:ext cx="2538003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Social media</a:t>
              </a:r>
            </a:p>
          </p:txBody>
        </p:sp>
        <p:sp>
          <p:nvSpPr>
            <p:cNvPr id="48" name="btfpRunningAgenda2LevelBarRight294467">
              <a:extLst>
                <a:ext uri="{FF2B5EF4-FFF2-40B4-BE49-F238E27FC236}">
                  <a16:creationId xmlns:a16="http://schemas.microsoft.com/office/drawing/2014/main" id="{80AC7A27-3A2C-F996-40B4-74B0D0158410}"/>
                </a:ext>
              </a:extLst>
            </p:cNvPr>
            <p:cNvSpPr/>
            <p:nvPr/>
          </p:nvSpPr>
          <p:spPr bwMode="gray">
            <a:xfrm>
              <a:off x="2457881" y="876300"/>
              <a:ext cx="1279416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2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9416" h="257442">
                  <a:moveTo>
                    <a:pt x="1279416" y="0"/>
                  </a:moveTo>
                  <a:lnTo>
                    <a:pt x="1224695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7" name="btfpRunningAgenda2LevelTextRight294467">
              <a:extLst>
                <a:ext uri="{FF2B5EF4-FFF2-40B4-BE49-F238E27FC236}">
                  <a16:creationId xmlns:a16="http://schemas.microsoft.com/office/drawing/2014/main" id="{5BE6D39A-0301-3F5A-07BE-21717F797605}"/>
                </a:ext>
              </a:extLst>
            </p:cNvPr>
            <p:cNvSpPr txBox="1"/>
            <p:nvPr/>
          </p:nvSpPr>
          <p:spPr bwMode="gray">
            <a:xfrm>
              <a:off x="2457881" y="876300"/>
              <a:ext cx="122469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ads</a:t>
              </a:r>
            </a:p>
          </p:txBody>
        </p:sp>
      </p:grpSp>
      <p:pic>
        <p:nvPicPr>
          <p:cNvPr id="50" name="Picture 49">
            <a:extLst>
              <a:ext uri="{FF2B5EF4-FFF2-40B4-BE49-F238E27FC236}">
                <a16:creationId xmlns:a16="http://schemas.microsoft.com/office/drawing/2014/main" id="{8E0DC1CC-2487-8F71-C8BB-9025CC79E4CD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25" y="945537"/>
            <a:ext cx="255948" cy="255222"/>
          </a:xfrm>
          <a:prstGeom prst="rect">
            <a:avLst/>
          </a:prstGeom>
        </p:spPr>
      </p:pic>
      <p:sp>
        <p:nvSpPr>
          <p:cNvPr id="7" name="btfpBulletedList651135">
            <a:extLst>
              <a:ext uri="{FF2B5EF4-FFF2-40B4-BE49-F238E27FC236}">
                <a16:creationId xmlns:a16="http://schemas.microsoft.com/office/drawing/2014/main" id="{846A3D2F-81BE-4858-8C43-835F8BAE799F}"/>
              </a:ext>
            </a:extLst>
          </p:cNvPr>
          <p:cNvSpPr txBox="1"/>
          <p:nvPr>
            <p:custDataLst>
              <p:tags r:id="rId10"/>
            </p:custDataLst>
          </p:nvPr>
        </p:nvSpPr>
        <p:spPr bwMode="gray">
          <a:xfrm>
            <a:off x="8564952" y="1735730"/>
            <a:ext cx="3296848" cy="399685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r>
              <a:rPr lang="en-US" sz="1100" b="1" dirty="0"/>
              <a:t>Target positioned #2 </a:t>
            </a:r>
            <a:r>
              <a:rPr lang="en-US" sz="1100" dirty="0"/>
              <a:t>on # of ads with </a:t>
            </a:r>
            <a:r>
              <a:rPr lang="en-US" sz="1100" b="1" dirty="0"/>
              <a:t>~336 ads </a:t>
            </a:r>
            <a:r>
              <a:rPr lang="en-US" sz="1100" dirty="0"/>
              <a:t>in LTM, Peer 3 leads with ~451 ads</a:t>
            </a:r>
          </a:p>
          <a:p>
            <a:pPr lvl="1"/>
            <a:r>
              <a:rPr lang="en-US" sz="900" dirty="0"/>
              <a:t>Peer 3 advertises across a spectrum of its </a:t>
            </a:r>
            <a:r>
              <a:rPr lang="en-US" sz="900" b="1" dirty="0"/>
              <a:t>diverse offerings </a:t>
            </a:r>
            <a:r>
              <a:rPr lang="en-US" sz="900" dirty="0"/>
              <a:t>including accessories (jewelry), dress and eyewear.</a:t>
            </a:r>
          </a:p>
          <a:p>
            <a:pPr lvl="1"/>
            <a:r>
              <a:rPr lang="en-US" sz="900" dirty="0"/>
              <a:t>Scope for Target to </a:t>
            </a:r>
            <a:r>
              <a:rPr lang="en-US" sz="900" b="1" dirty="0"/>
              <a:t>strategize </a:t>
            </a:r>
            <a:r>
              <a:rPr lang="en-US" sz="900" dirty="0"/>
              <a:t>campaigns by </a:t>
            </a:r>
            <a:r>
              <a:rPr lang="en-US" sz="900" b="1" dirty="0"/>
              <a:t>advertising a few of its other product lines </a:t>
            </a:r>
            <a:r>
              <a:rPr lang="en-US" sz="900" dirty="0"/>
              <a:t>such as clothing, accessories, and kids' and maternity collections.</a:t>
            </a:r>
          </a:p>
          <a:p>
            <a:r>
              <a:rPr lang="en-US" sz="1100" dirty="0"/>
              <a:t>Target </a:t>
            </a:r>
            <a:r>
              <a:rPr lang="en-US" sz="1100" b="1" dirty="0"/>
              <a:t>depends heavily on static format (~94%)</a:t>
            </a:r>
            <a:r>
              <a:rPr lang="en-US" sz="1100" dirty="0"/>
              <a:t> with only ~6% being video ads.</a:t>
            </a:r>
          </a:p>
          <a:p>
            <a:pPr lvl="1"/>
            <a:r>
              <a:rPr lang="en-US" sz="900" dirty="0"/>
              <a:t>Scope to focus on </a:t>
            </a:r>
            <a:r>
              <a:rPr lang="en-US" sz="900" b="1" dirty="0"/>
              <a:t>video ads </a:t>
            </a:r>
            <a:r>
              <a:rPr lang="en-US" sz="900" dirty="0"/>
              <a:t>which offer </a:t>
            </a:r>
            <a:r>
              <a:rPr lang="en-US" sz="900" b="1" dirty="0"/>
              <a:t>story-telling </a:t>
            </a:r>
            <a:r>
              <a:rPr lang="en-US" sz="900" dirty="0"/>
              <a:t>opportunity to </a:t>
            </a:r>
            <a:r>
              <a:rPr lang="en-US" sz="900" b="1" dirty="0"/>
              <a:t>engage </a:t>
            </a:r>
            <a:r>
              <a:rPr lang="en-US" sz="900" dirty="0"/>
              <a:t>with the audience and consequently lead to </a:t>
            </a:r>
            <a:r>
              <a:rPr lang="en-US" sz="900" b="1" dirty="0"/>
              <a:t>improved conversion </a:t>
            </a:r>
            <a:r>
              <a:rPr lang="en-US" sz="900" dirty="0"/>
              <a:t>rates.</a:t>
            </a:r>
          </a:p>
          <a:p>
            <a:r>
              <a:rPr lang="en-US" sz="1100" dirty="0"/>
              <a:t>Scope for Target to incorporate </a:t>
            </a:r>
            <a:r>
              <a:rPr lang="en-US" sz="1100" b="1" dirty="0"/>
              <a:t>carousel ads</a:t>
            </a:r>
            <a:r>
              <a:rPr lang="en-US" sz="1100" dirty="0"/>
              <a:t> in ad campaigns as a method to showcase product offerings and features across collection. </a:t>
            </a:r>
          </a:p>
          <a:p>
            <a:pPr lvl="1"/>
            <a:r>
              <a:rPr lang="en-GB" sz="900" dirty="0"/>
              <a:t>Carousel ads features multiple scrollable pictures that lead the user to different landing pages, helping in increasing click-through-rates</a:t>
            </a:r>
          </a:p>
          <a:p>
            <a:pPr marL="0" indent="0">
              <a:buNone/>
            </a:pPr>
            <a:endParaRPr lang="en-GB" sz="11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7121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E3C2494-4331-C652-57A9-B5A3E9BDBF6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1098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606" imgH="608" progId="TCLayout.ActiveDocument.1">
                  <p:embed/>
                </p:oleObj>
              </mc:Choice>
              <mc:Fallback>
                <p:oleObj name="think-cell Slide" r:id="rId13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3C2494-4331-C652-57A9-B5A3E9BDBF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1" name="btfpColumnIndicatorGroup2">
            <a:extLst>
              <a:ext uri="{FF2B5EF4-FFF2-40B4-BE49-F238E27FC236}">
                <a16:creationId xmlns:a16="http://schemas.microsoft.com/office/drawing/2014/main" id="{D5265EF2-BC36-FD61-2DF0-FA5DAEF5DB0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9" name="btfpColumnGapBlocker121317">
              <a:extLst>
                <a:ext uri="{FF2B5EF4-FFF2-40B4-BE49-F238E27FC236}">
                  <a16:creationId xmlns:a16="http://schemas.microsoft.com/office/drawing/2014/main" id="{8323D665-E507-F960-5BA0-1E56073744D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7" name="btfpColumnGapBlocker384710">
              <a:extLst>
                <a:ext uri="{FF2B5EF4-FFF2-40B4-BE49-F238E27FC236}">
                  <a16:creationId xmlns:a16="http://schemas.microsoft.com/office/drawing/2014/main" id="{DD79ADDB-60DC-E9BC-206C-A6C0CB571F0B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5" name="btfpColumnIndicator375340">
              <a:extLst>
                <a:ext uri="{FF2B5EF4-FFF2-40B4-BE49-F238E27FC236}">
                  <a16:creationId xmlns:a16="http://schemas.microsoft.com/office/drawing/2014/main" id="{D262A891-6904-4F7B-64E7-26507E1EEE7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btfpColumnIndicator961691">
              <a:extLst>
                <a:ext uri="{FF2B5EF4-FFF2-40B4-BE49-F238E27FC236}">
                  <a16:creationId xmlns:a16="http://schemas.microsoft.com/office/drawing/2014/main" id="{BE30DB3C-0DEA-B58F-E0B4-9F0FCE10032A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btfpColumnGapBlocker542599">
              <a:extLst>
                <a:ext uri="{FF2B5EF4-FFF2-40B4-BE49-F238E27FC236}">
                  <a16:creationId xmlns:a16="http://schemas.microsoft.com/office/drawing/2014/main" id="{0737EE92-5462-833F-C87B-12540B632237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8" name="btfpColumnIndicator175095">
              <a:extLst>
                <a:ext uri="{FF2B5EF4-FFF2-40B4-BE49-F238E27FC236}">
                  <a16:creationId xmlns:a16="http://schemas.microsoft.com/office/drawing/2014/main" id="{11FA66C8-A4AA-69A2-8F73-F3CA965D40DF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btfpColumnIndicator662322">
              <a:extLst>
                <a:ext uri="{FF2B5EF4-FFF2-40B4-BE49-F238E27FC236}">
                  <a16:creationId xmlns:a16="http://schemas.microsoft.com/office/drawing/2014/main" id="{92DDE530-3628-110C-4D6C-8B106D9F5BEA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btfpColumnGapBlocker340096">
              <a:extLst>
                <a:ext uri="{FF2B5EF4-FFF2-40B4-BE49-F238E27FC236}">
                  <a16:creationId xmlns:a16="http://schemas.microsoft.com/office/drawing/2014/main" id="{54D677A7-3B0B-D012-3033-F94C181B7E53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" name="btfpColumnIndicator369569">
              <a:extLst>
                <a:ext uri="{FF2B5EF4-FFF2-40B4-BE49-F238E27FC236}">
                  <a16:creationId xmlns:a16="http://schemas.microsoft.com/office/drawing/2014/main" id="{E5AB500A-9A10-BAF4-57F3-54BC12FBF280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277283">
              <a:extLst>
                <a:ext uri="{FF2B5EF4-FFF2-40B4-BE49-F238E27FC236}">
                  <a16:creationId xmlns:a16="http://schemas.microsoft.com/office/drawing/2014/main" id="{6B0D098D-2518-2FAA-B8B8-8E4DFDE39844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btfpColumnIndicatorGroup1">
            <a:extLst>
              <a:ext uri="{FF2B5EF4-FFF2-40B4-BE49-F238E27FC236}">
                <a16:creationId xmlns:a16="http://schemas.microsoft.com/office/drawing/2014/main" id="{349EB443-E391-1D15-B0C3-3E33C01A638B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8" name="btfpColumnGapBlocker891171">
              <a:extLst>
                <a:ext uri="{FF2B5EF4-FFF2-40B4-BE49-F238E27FC236}">
                  <a16:creationId xmlns:a16="http://schemas.microsoft.com/office/drawing/2014/main" id="{1BA20FDC-7B0D-524C-10B9-2E888C8066B9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6" name="btfpColumnGapBlocker776069">
              <a:extLst>
                <a:ext uri="{FF2B5EF4-FFF2-40B4-BE49-F238E27FC236}">
                  <a16:creationId xmlns:a16="http://schemas.microsoft.com/office/drawing/2014/main" id="{AF6FD3B9-0B8C-E9ED-D9B9-A6C1AD27E732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3" name="btfpColumnIndicator769115">
              <a:extLst>
                <a:ext uri="{FF2B5EF4-FFF2-40B4-BE49-F238E27FC236}">
                  <a16:creationId xmlns:a16="http://schemas.microsoft.com/office/drawing/2014/main" id="{9C05A027-BA2D-29A2-5E67-8742326B7819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btfpColumnIndicator471565">
              <a:extLst>
                <a:ext uri="{FF2B5EF4-FFF2-40B4-BE49-F238E27FC236}">
                  <a16:creationId xmlns:a16="http://schemas.microsoft.com/office/drawing/2014/main" id="{09BAA24D-855F-AA4D-E3DE-F9640DC27B54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btfpColumnGapBlocker428073">
              <a:extLst>
                <a:ext uri="{FF2B5EF4-FFF2-40B4-BE49-F238E27FC236}">
                  <a16:creationId xmlns:a16="http://schemas.microsoft.com/office/drawing/2014/main" id="{251055E0-1A10-C9BD-678D-F8DD6F6D52E5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btfpColumnIndicator323546">
              <a:extLst>
                <a:ext uri="{FF2B5EF4-FFF2-40B4-BE49-F238E27FC236}">
                  <a16:creationId xmlns:a16="http://schemas.microsoft.com/office/drawing/2014/main" id="{71CD1218-EAD9-4E09-5862-1A055121E769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674401">
              <a:extLst>
                <a:ext uri="{FF2B5EF4-FFF2-40B4-BE49-F238E27FC236}">
                  <a16:creationId xmlns:a16="http://schemas.microsoft.com/office/drawing/2014/main" id="{195AB4E9-5C6E-15B5-67B8-D41B1B1EE0C9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btfpColumnGapBlocker595147">
              <a:extLst>
                <a:ext uri="{FF2B5EF4-FFF2-40B4-BE49-F238E27FC236}">
                  <a16:creationId xmlns:a16="http://schemas.microsoft.com/office/drawing/2014/main" id="{679C0B56-DD40-9150-1BE7-185FCDBEC3C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309573">
              <a:extLst>
                <a:ext uri="{FF2B5EF4-FFF2-40B4-BE49-F238E27FC236}">
                  <a16:creationId xmlns:a16="http://schemas.microsoft.com/office/drawing/2014/main" id="{70F5A56B-3894-1B97-E3C5-04B115601FAD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467603">
              <a:extLst>
                <a:ext uri="{FF2B5EF4-FFF2-40B4-BE49-F238E27FC236}">
                  <a16:creationId xmlns:a16="http://schemas.microsoft.com/office/drawing/2014/main" id="{96139C3A-794A-B4CF-C69F-39E86A8EF46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6B3CA210-6BC3-4334-BB0B-46C8A39132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054" y="0"/>
            <a:ext cx="11522075" cy="876687"/>
          </a:xfrm>
        </p:spPr>
        <p:txBody>
          <a:bodyPr vert="horz"/>
          <a:lstStyle/>
          <a:p>
            <a:r>
              <a:rPr lang="en-GB" b="1" dirty="0"/>
              <a:t>Social media ads (FB/IG)</a:t>
            </a:r>
            <a:r>
              <a:rPr lang="en-GB" dirty="0"/>
              <a:t>: In the UK too, Target doing more ads vs. competition</a:t>
            </a:r>
          </a:p>
        </p:txBody>
      </p:sp>
      <p:pic>
        <p:nvPicPr>
          <p:cNvPr id="34" name="btfpIconLines155624">
            <a:extLst>
              <a:ext uri="{FF2B5EF4-FFF2-40B4-BE49-F238E27FC236}">
                <a16:creationId xmlns:a16="http://schemas.microsoft.com/office/drawing/2014/main" id="{FF89EC04-53B9-4683-A4A3-7757D3A6C238}"/>
              </a:ext>
            </a:extLst>
          </p:cNvPr>
          <p:cNvPicPr>
            <a:picLocks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9800" y="1238178"/>
            <a:ext cx="391380" cy="391380"/>
          </a:xfrm>
          <a:prstGeom prst="rect">
            <a:avLst/>
          </a:prstGeom>
        </p:spPr>
      </p:pic>
      <p:grpSp>
        <p:nvGrpSpPr>
          <p:cNvPr id="86" name="btfpStatusSticker954153">
            <a:extLst>
              <a:ext uri="{FF2B5EF4-FFF2-40B4-BE49-F238E27FC236}">
                <a16:creationId xmlns:a16="http://schemas.microsoft.com/office/drawing/2014/main" id="{5BE5A60C-4F77-5B4D-3509-11993F4AECD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102664" y="955344"/>
            <a:ext cx="1759136" cy="235611"/>
            <a:chOff x="-3308535" y="876300"/>
            <a:chExt cx="1759136" cy="235611"/>
          </a:xfrm>
        </p:grpSpPr>
        <p:sp>
          <p:nvSpPr>
            <p:cNvPr id="84" name="btfpStatusStickerText954153">
              <a:extLst>
                <a:ext uri="{FF2B5EF4-FFF2-40B4-BE49-F238E27FC236}">
                  <a16:creationId xmlns:a16="http://schemas.microsoft.com/office/drawing/2014/main" id="{478A8F7B-E1C3-9B0E-5425-1C73DA0229B1}"/>
                </a:ext>
              </a:extLst>
            </p:cNvPr>
            <p:cNvSpPr txBox="1"/>
            <p:nvPr/>
          </p:nvSpPr>
          <p:spPr bwMode="gray">
            <a:xfrm>
              <a:off x="-3308535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85" name="btfpStatusStickerLine954153">
              <a:extLst>
                <a:ext uri="{FF2B5EF4-FFF2-40B4-BE49-F238E27FC236}">
                  <a16:creationId xmlns:a16="http://schemas.microsoft.com/office/drawing/2014/main" id="{9FC721EC-0733-3EBC-61EB-B1EF5126F42D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330853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HeaderBox871977">
            <a:extLst>
              <a:ext uri="{FF2B5EF4-FFF2-40B4-BE49-F238E27FC236}">
                <a16:creationId xmlns:a16="http://schemas.microsoft.com/office/drawing/2014/main" id="{12D18823-4086-0D2F-4D6B-662D7D787A8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30200" y="1349199"/>
            <a:ext cx="7458564" cy="309072"/>
            <a:chOff x="330200" y="1027537"/>
            <a:chExt cx="11531600" cy="309072"/>
          </a:xfrm>
        </p:grpSpPr>
        <p:sp>
          <p:nvSpPr>
            <p:cNvPr id="14" name="btfpColumnHeaderBoxText871977">
              <a:extLst>
                <a:ext uri="{FF2B5EF4-FFF2-40B4-BE49-F238E27FC236}">
                  <a16:creationId xmlns:a16="http://schemas.microsoft.com/office/drawing/2014/main" id="{763B2FC3-DE61-CD57-B7F2-9D01BEEB064B}"/>
                </a:ext>
              </a:extLst>
            </p:cNvPr>
            <p:cNvSpPr txBox="1"/>
            <p:nvPr/>
          </p:nvSpPr>
          <p:spPr bwMode="gray">
            <a:xfrm>
              <a:off x="330200" y="1027537"/>
              <a:ext cx="11531600" cy="303608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buNone/>
              </a:pPr>
              <a:r>
                <a:rPr lang="en-US" sz="1500" b="1" dirty="0"/>
                <a:t>Target behind only Peer 3; Peer 8 competes closely</a:t>
              </a:r>
            </a:p>
          </p:txBody>
        </p:sp>
        <p:cxnSp>
          <p:nvCxnSpPr>
            <p:cNvPr id="15" name="btfpColumnHeaderBoxLine871977">
              <a:extLst>
                <a:ext uri="{FF2B5EF4-FFF2-40B4-BE49-F238E27FC236}">
                  <a16:creationId xmlns:a16="http://schemas.microsoft.com/office/drawing/2014/main" id="{29AB51EE-2B9E-3B21-52B7-E955C8D3502F}"/>
                </a:ext>
              </a:extLst>
            </p:cNvPr>
            <p:cNvCxnSpPr/>
            <p:nvPr/>
          </p:nvCxnSpPr>
          <p:spPr bwMode="gray">
            <a:xfrm>
              <a:off x="330200" y="1336609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btfpColumnHeaderBox871977">
            <a:extLst>
              <a:ext uri="{FF2B5EF4-FFF2-40B4-BE49-F238E27FC236}">
                <a16:creationId xmlns:a16="http://schemas.microsoft.com/office/drawing/2014/main" id="{EF672F4F-C0D4-A91C-050B-25C1B65E1070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524333" y="1339803"/>
            <a:ext cx="3296847" cy="315913"/>
            <a:chOff x="330200" y="1020696"/>
            <a:chExt cx="11531600" cy="315913"/>
          </a:xfrm>
        </p:grpSpPr>
        <p:sp>
          <p:nvSpPr>
            <p:cNvPr id="24" name="btfpColumnHeaderBoxText871977">
              <a:extLst>
                <a:ext uri="{FF2B5EF4-FFF2-40B4-BE49-F238E27FC236}">
                  <a16:creationId xmlns:a16="http://schemas.microsoft.com/office/drawing/2014/main" id="{3B006844-8359-0FBE-C8C7-D1365C3BCD3C}"/>
                </a:ext>
              </a:extLst>
            </p:cNvPr>
            <p:cNvSpPr txBox="1"/>
            <p:nvPr/>
          </p:nvSpPr>
          <p:spPr bwMode="gray">
            <a:xfrm>
              <a:off x="330200" y="1020696"/>
              <a:ext cx="11531600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buNone/>
              </a:pPr>
              <a:r>
                <a:rPr lang="en-US" b="1"/>
                <a:t>Commentary</a:t>
              </a:r>
            </a:p>
          </p:txBody>
        </p:sp>
        <p:cxnSp>
          <p:nvCxnSpPr>
            <p:cNvPr id="25" name="btfpColumnHeaderBoxLine871977">
              <a:extLst>
                <a:ext uri="{FF2B5EF4-FFF2-40B4-BE49-F238E27FC236}">
                  <a16:creationId xmlns:a16="http://schemas.microsoft.com/office/drawing/2014/main" id="{4BF31364-BE6D-0D38-01F7-6E8C4972A802}"/>
                </a:ext>
              </a:extLst>
            </p:cNvPr>
            <p:cNvCxnSpPr/>
            <p:nvPr/>
          </p:nvCxnSpPr>
          <p:spPr bwMode="gray">
            <a:xfrm>
              <a:off x="330200" y="1336609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ectangle 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qFHiboAhnyFYO40OgDW9etHQ3Sy44XTVMcMC1tL7LmNH8lNkbB1Jw9nduKjj94yZw/Me2WqwClzThRPxzPfb7U0Ezc6ymFC3HIdD5tkg+WW9oEick+8eg79QfTstLkDjf+LQpZOqkzUiu94IsCbVXr5OpmnuG2y/lFonp6vSXkY7I9Qlrq6INlq4OY8/f79GtyG69vBipcHf6bM78PGESgxtO49+cRo/A70kPl70xje2NpZOIjYoWDaNFHwN5TcsPiKMFKJ0OfKxnS1LLuRDXazaBZJ2DSbaN8/+dRzGzvS/15QVDukNfQO0lS5+MEkRd5a58TuJlKGC91WrbairZcmRGn9ydd+54znFfseGj5L3GZg88Zja8bVNYFCOoON4Z38OKFiV0mvfxWPF+ntRLW8s/H6Jq8boZ+IOuJs2Iv/ZKmqPSrwFA5hRT0oAD/hycIQRe1sdgAfSS4mltLbdTzL6L9NhUef83rV07WyF9hE3ATL/vqnYb0Ve5UiCs92Kfw8n3luAMMNhgKKbBaEWcRRa82H3iCin5U91xDXBrsmbcTWf1rPHJBetRnFNggPrhi6q40p/j6H4nQKJSJf8az3bjk9qBGJLLB3D8qPDQDaHRh4ceLdOEjoCjErBfpbUkluNE8oxaSlIrbSd8yMPYcgUwK/A5Mrnh6H9D/Pwfr+gJgM1taqI8sGvkEVeDxjbIYm+EXxb4tx/hSJqqJJ1fOvJ4ocJH/E0QIRs2HNAuJywIzxZFhidWHCUyMxIeQQdve5oG5zsoqyROqbVNxa7SgoNev1g0vHCbAZxu+AaMF1Aw6xdt6v0DaLuKnds0XGcmvNYy3/3RwqjIHOYcrVcq1vDAIYuyxgv49w9e7GckdMIvnGhfCFufA+5by0KtTpfNACKMaMBfeOJnGwZDAPOs81nYFlCDUoXsCkS5wAdHen4kZyOyR4I2ARPzbcTSLaaod6shY8ktobFQdju+TjhMZrdYK74UzQuwTv5USe3RetJzjX5HbVvoLjl07qnJh6mliBENNVPCNXL/adV+IoryzCAnTzcKTlAMu2/BQQY3CWiyCrwGevbySrP5YKc3+MI9+sst9kxkDNZC+vjxfyYdvIvnV9fRriJgpn5m6xQwL1MfQ7gxr8IcJlm6ztESk3GRNdRir6sDoCjJR9gB4tw2rE4jV118d2rgEZPXWWJBpXXn6VBMK3Y7ZXgBdYCkaxR63VoBJ8NlrHuHreWZhvX3Sje17BXdsMZD9DW7NYCD9IpX8CFF6CRGRUurGx2xdS0Up0gEJVjAt959wQ0TDLaHKak/pqUNAcDxIAwuwxtvHrdySHeCBx3hdDdL996EU/Ob2re8Euap8n+uYm/x8ngHqZuT3w5NHceYfAlxRynY050Sns46S8bcveUmoIIjFlsS9rYHccxmcLW8H8ISogGdzdMBVVB2xT5Lke1CJ7+6VHuRWBJoOIM2F/LwN7Bzbw2/vbqzzOoRZ5516zqSqV2yFHeGSDD9w2vcR6PfTguYxRpoBU0IAT/Qzt/nQzSJzkjO1FXzLviTC+mC0CcDE3VU2XQPRstfq9PbjMUL8ERU3npbrAgijLjxZA7EInES/wzA8uB7oVDIyU9OY2tku6Sp2KpKuont3bDCMPkt+HaBVJfsZwvsVNC0zRXqBIPsU2j0DdRmPdeUGxTonkzywJWeIta/zKBa4ag0MF0wgXOZ5PWAjbYlsM/c/iF84HxXV1VCloZbJuOOlFt0kMEh3ATrCEJuHHXtBqrtm97Pmx93hXc/ChA4gMaz9Pm/dVMJqgkV5WZzyjtzoAIhwrUBS6xDpNM3vTaOWobsXi2/FagDx+L6UiHI4izGjoN9woHQw1lO/ApXsSKEmo1a2PoHg1HxAvxwZxurdNsEQtnyvXvEiJyBD701D64M10xDQhNjc+NpW4wYCqZf/E/fUty+4cHcPR8/IQZ9fuQ8ajTDDMKviJDTPwowZPh/1Ni6ys+dxoxP8rPRBwWMIQG56WCFiX1040Cn8lKiX0dvSjLM4LnFy6nGQ+MNEcMScsp/35slazkDmuwtPw9b/iXa+knfzgaZtM0uaAiDTy5kU8Ei/i76q5jXD7YqTQNKjyMnkfD7Ai6M7yY/06p0qP1PCYkOGws4TmoPKdvh1VzxOGJhEwucpeW3tEveyMZSi7l78bRidjHau9TXf/Lm03UDlevsqdtEOcRfEjIUB5Aw8WAjAe3qgm7lk1TNtakVV5/TbcfBsKY5BptI3Yb7cUuNLl5qxc9AOv+KFkw/tym/VSvoA1RoWrNNXbwDTbIy4Azt7X2/X+zwo8PpJ3eLCiSFz65F5ZPsZmTGztKIhqWbNcNejGN+7F9VWvKx/ED9Ajy2QrA4/HTyeC4/6RTOBi5O4Vv0AVcPy/fd0Y9BPwUExo2zs1IiWWNvmLIOqFe4VfP3sDBNOHzshnFlzX93pSSzCzwDhviR2Dq41ir37P/hSvXzTF1WMhfsgl8tX9jPM/JFsG3y0QgLJo/pzvOR7bocvfmwQ6Rc/35CfGjNu/AKpkwH9a8vm7DkfvTpDjNYvVtmzmYblkhk9O0hxFaX1UvJXi9DTh8GwFZyKPcLvEycEpqkgIykSLqjTbgTmaSO7YDOjo7fzlfPFe73kmDBpfIYw7EgTENq8hPq5EvGpiGw93GNjhvn1f7jq74DvU5Tjc41N4fKQzPdOSAsGJfE1EWD89qxKn58K53HKYW9085pnRP1Pa9bRk7e4rm2cKwHzOtDd+Gkg9bzP7NeLTM3wqgAySIe4HMztoOM6P1NbHXFFtmoJ+q4zesNxudOSF1S52H3wdMqTuVlBOUTvRNEl5SKEERzT0PmEG/rw0d3QoDtYqSgfVFgFik4JBzsn4rztPYWozsqc0gxk1VPBu2IIQin9nQ74OkUV9gY43AYyZhLI6PuvOMbcoqEFGGAqBhYGGH+Xr3EKOWZ+5m2bdakW1HTDz0D6kjWsVPYLZQCXI3N77nfnQa81y0fVnSZfe6oEzHtqSXQauW3Oc/D3EPv4jbS7HLScZanu9EHAC0CLi+FwybG632YBZ3ruUKpMnboV+RI0vYomC9SIUw+vr+xRrGch7glfK5NuwittP1x2DO3tnVqNypK5OYbVkWLzRZvJsn34apTMcVcNdwzotdr3yclwz4OI0Znd1JD1U/yK0S01Rl+rRXwEjboCpOlvJopUGYCD3fO9EprfC+OLNDNVXw1JF9A9QxpeaNi7MvNZH3LrgZw5tSo+la02vaxsCQOtoDzmOczNf0YiRkz33hCWs4WWLufHcxBaweWCSvLS8WuyQAQfRgz1Kthc8lw+kTVAHsFIeZOS9jJ02iY7r6Dhyr81UO+j9dRr9PnAU+Nsaum7L071j4cxuCrN4KM21ebdZ0lszaqLomwufZP/IaV/ufBMcylpE5RzmLq57aHkGSvbuA+jByywsVihViUHM3ZZcJK5Oj5lntQkfLYK78xbiBRtrtTdglqCM/NF/SPXJN0NeqLTXoYotOsy+Um3ue7guax5El5EMWnk4JJs/Vy2A0HjKd/Pdjb6k+Va5cTl4OgKEeJ01zn767STRaLT0LuyhC5abzry017n6pRpaGkEtyKFThxupE0w8Wo/i1YlF4vdhKuUFUHaMXHmqgNSmICV81pSu2I+/jfAvYDXSIHiq9MeHtB3bC5AEWSNnZGNjBva4Lmc3SN3uUuQYlisalygWb+0Ogh/EES2UnOk2X1gKApi+Dg5IQ9itu8R/wI3Y9ymkDVsR22kuR0QFOgHoyStdo66BXws2vYdU5zJNYHPE9GI6IVKhdgNK+RAbCMmdaxnQqNpsPUAtiUxz/5XRzRPVbpK8Oa4Ql+CQxUb2UtGhtMKajUxuueilD4/5nCq/OA8vEkLmv1OamccQ84fig1yUHdyKW/ZKtbCrFNdIEzCZAoG0TZcsQ3slzNNbZutRdcSr0W2X7F6ZBoC3etcOS29AvBM60HyM0A77IzltMDI0woxPz3RZfv+hgWsTZp2W0LaCGr+V8FAHJb72UnpGDXyo7CaPhBSJ2HlGumoo0UtTp2QicqGHD9PW8mq9h0W4azkj4cU6vlX5A+1JrkgVItBZWXBq940nfYQAxA6PisgGzPLIm9tVehHy32vvz5orj1ENaTLu0Gt1hanD94nbBgP+KDFxm+1dorfwR/7RZdZ8XTNXVwP/vaZTzjUbxF9bnp5QXQvYIbFrcYhCNyboiez4idBOW1Z/6MHrNsp5q5pOT/XY2/lNJgaarTXygHmLYH4X0qlm63iiYK6b+qYtqVcwtALAmFp6/dkqQP/TGQQXxTJUovPw/vUtJR52+LGSaDLwqI3V1HTb9Z9NCdLHWs/pmYID1pUrIKTu+aYXSBOol+OhjhAYxHZaDbbu4AZIq+KmlK5hBPAipFUMVWNrigSGlPjm0j3dgLsRsi47I1qmLxVhxyh1TLTHKO3BN3bLtGIF5uzrRBIX9ZX/mCH8JiRFBkjHoiZx/5e80dm9MF4H696c21VPaqCnNCg69I2AwHSiNtl3PclC2tDfiEPvT91fw5WkW/OH9O4KqPKqaXdOcxxmMFORFpz4K7X9Z7ZjAK4iHCZF1BTFia/oMe/+b0B/46VErQtBlYYvQTt3po89BlYiVLAoOtm9kFd/+7O9czHf5uRcbZ+gfPv5XCgZpa1BO2ceB5NY2RI1o26Fm7dv68BMLX2GBWlcDTlwy2xvT/M48cfD4EA8OPDa75GJFZerIf32GqiRaZnVdYSqMT/+XfqCWikkoM5LjFh2uRGko48fmoaxbp7m5CVlamddGp6NCBRO+D33ECP+MM1ak5u9Yaybe9p/t09Dz9xsqOGHaA40Z0INVFGw4Bjh+MqaTpy+wSW6Hh/yG1FFec68AIyglbQLvC12h9mTGW4LKvXeAQHj4iKsRt6CiSAQk1xbhgvOQVqSgQPOfdrxyNfxaT6Os9RHRqfjBM0bfKo2+IMHjmr7PXUQUaxHTM2jUzOdbVeZpT7XQZZVG/F8tzxRfG+jePx3iYaY65zbIFdvnLtU49nR5bjrgqw0pdYOefTI3X4tf9YVsBwYiGnZTMV1LrD2bDR96E1blDNrCS1VH5doTETCpX8C3BfevZqPjFlsWOE3VbeCPfVSsc0SonXolDDGlzTKCFgn3NttqNoRYWRRGe7PIw118c45/Z0M7POCWApLN1XB5IjTOY7zMuMJLAnV1e/GRvINx7EJq5IGHtlX1Fv19FDL5XeTE/DXpPYrWKR7stC98F/0pOQz1yEXi3tn0ZQQHcWOCmzkFqNmYLX/GxonnKWVoj6IRQlg7PWfMfrRpYlE9HzUWEAWDpBLu4AFISOGQbV1JRrFlsTHwEM3XbxOga7bYTyGPWJ9lcswq1kQuwyzz95yM6VUCkViG8ZPwfmOGvybuW6r4DZtfqCIKfiCHyXBrt7D6BCNVB8o7PNZKcOkdnHmEviPa4yPHLgpxLnxwmEhIFBODgktzZjobJQkviaTdtRLvu/A0GQmrq1RMQLNGsy/JYn3bQp/74Q6P5cO95o5YKY/TrIBJc/KTgdToon5ckpXwKsSUOI2KhQ33SAaJ2KiF92G/+/Lzqgvv77K6cHfnolF+xDvjj8EEV2XzbiOR+PW9R2OhYQAv6Jb0k7FnP5QFNg8ueqxw/QQjbYX20rcpWCJIGdXkSV5xUftCUEZV/JXz6SHUbFXPDUJDtwx0QrkNSnjldhgqD3nZ2nlYvAcu156bFNvyih/zSVn5rlLe9/euG1hXd1KLbK7glxo8KA1BWOyVb7Cp/cthhJU4Y0mZFxnLPK10YNKolYmOgecaJ9NX1AT9nvqo5Pfk8KvZrquEsydCuRkXx86ccp5T2kUlxESWPJIzQKCXl03SUWE5YXkUs2ld29HpdpUKnXF1Sl8H+6B2KreR8TKe4WlulqGTRPArqZ3IBvAiiP4V61MED/U0wDGEu1FAE3hOt+CZ0plBVVSPO+PFhjY3mMTa9r9ZW9/k8YbchoDDL68/wbRyRDbXnkZMa1feAtEbzDYnnJ7Tjxk+sN/d0rDK8+8wxdSzT9Fw3INzZ9httfVkA0Wsk+MN7q3Vw2RV8Qpf8AGeuaIU80ESoYf2CxBu0t/m8/wO30f+wd5gNuYJtfZoJr/5tAQzDFN2TQe6vrmUuqbFplvSksdFRHw3eSH5WjuETv7isLNj3HpqGCFfkfyWNJi/8kXC5Ss36XEDDBZIlaNmio4pWV1fu7g7oJv8Ks4BubRtBT/InerRgtPP0EF18VjeZ6I1j9J2SMJVRyg1/5Uyl9OhtT5DCIPlb7PaTDwXnpYazXGia7p5MoPkmpD4Kncr/oGTlHYXhxBo5QEix0YcCq2cGB3qHzr/ezxuIW4Mvb7tzAwqm6HDaxRLC1j2O9rl8ZUsSqhERmrEwHYauNUReE7zMJz0O5YQHyz1QtG3TtEYrbdxsKcXgLkdGqe9UbDdkRstGgZs9v6pOvUofrpgt38NX15RBHCG+KaB2PcU/MGYfgH8zHoaqhSBbW3t3RRybUcuuZ7F+OBDBaHyEf3oFZhAYvB7CzIFxjJq+bScICaMST1/WqQRqPrJt6OtjqbeuLhrzK07dWQT0IWgALWWf16IKGM77aEa+9j+VFBY66KOyFN9N67yfG4Yrbc5JazTARFQphMp1T0dCQUlfiXSHtTn0iPswxdz0R1VdSlsFT8yZiC0D+Zn+SXseWNsEH3w3054tBuzN2JfND20VoHm+d/2ggzWVvJVWFzmz8bX9C1T810UtYuEvxMhjOQqnp4VHjd91yafz4kiQBFB07xoA5/U3n8J6xFMQ8M2b+qbRAzP4ie6MDPXCajV4onW10mRspS8/jPPsbYyT/O2NCkvonUndXizix8x07DQDgyJ86dvEHh2om0QXuAovg/f1wgIHs9L/hf2/VV450oCuZTA7lVEPcIBoUVQdEl9uk/i4+pk0W0FVGDtcGXH0kJ6E9hBIiCZ57G3Rb5i3k3orFsiv3uwvcL/Y6TiRo8ytW8zGs5PPoe8NHj0Z2e5AsJcfrvI6yPJ28crQS/A03PyYAa52qnMwHlaNgwASTH82NAh02cgEvYN739Jln8B1gc5mkhH1/Xi3PzdyP96l29n+ddIMtDozHYyZYB3NBAs4vvXzEdEmyTe3A74QDHoO4RGwujyLSnWx8Yg2p8zrMha6czFcQPrjI2wUZ3H7Rnf7Wmb0AvmfZ8DBbCFsqHAP+C7usw8l2NgSPMmFIbVDqhFhRazpvjWpzBaq5LWoYvZrdVQnqsXzlzkfkSlOHvF9R8lA75jOffXBaKV/EDRMYC5eFOHkrm9jnIyNLTtnhSE1PteF9hoDiBLF/tcKGRJr6GmooUdKuvUusc2u12Vdf4yKvwXMiXzgcfbSqQ7N6ljphX+3kQdnjgnapZI8Frx7quGWi5hw+jQ3MTQnyBJEqjen/SsNHz3juhGrILGqoJ9wN4MX1FraYc+4WFML8zbvFP0Wns7XqmPjhJ5gj3sN5YTOQ3F7//ZsrC0j8LAxI3cH+Y6YOvoBTdvHUFDMW8xHFhxAZHmD8bgQ3Mc3dPWIEiBcO3DQggUqNrEZLBn5qvLwfZIHORqvLf6EV7m4PiJOkNHjlGSfSXfVZW4eUvs0QmM2NAWnoTv8le3ymXGDfxQMXU0JcDloKKK6apNHRgjlUZX8vl1fDX8t2iESFR1hlX0awDCf7JbNOa+GXw6iigz0ifWvEFXz5UmxXY7tQGOcX5b5U7X7OTzN4PfN9qKldgD65dAHnS8/JfattHdRRqS8iNB5Rh9VKxkGPkc0S6RVFWWx9COkUxkig0PiysGLM9S83VssJWga0ik4b3AoMsCUEfhYQaxNZmaMt5BcPdzt6Q+Z5L9Ujn47gA3njVAXnRwyDxPjDKXjT3KXHScL22xXQRxnjmNWBLYMv3fBDKFKbfQDbPzY1D6F/6JJLHTXDlFqJxqFPPu08wj3S0JNnpB/iXxHYYETTRJ4x43KOH/87JW9LS+EhzTURmT1xt8w07Um/AGC1bZqAco4yRdoGB+dsZafYctCB3DlQDO07KbIUJVzUHKtuEvL/yzlb00wsThGOtSgW0lNjzkrmbPIkONNAGE5Z2dNjZgCbZ6l8q90StUA0g8tomI5p3HURYdmsBJUSvlXepgHnJPqnyv2qrCX7mTI1t3aEcqy78ZDeJOhj1PpSQI49Rj/XoTifPRrRofeUiQ+kQQ+MuEM9A5+sxLJuk0v+8qxsWIo6ta4lS1z6K3PQZGsOyVIXI369yO0mGazNIT/NxYNR2dAS4QN5PNVZiSM8MFCOfHhWT9kYoR2022le3mmvRnLGuTS0rPVQyaHijZIi1WIeTb22pbtq/WhhejcpYc+vIA4Pv2scLvDNW2RjeJSxPzY9wCE3ASQDOt8t7KZppuK1JbaDaGRce3CeDcX2LFxlri1pLGufIq3MUGT+s5YBoz4VH468W3HSLIyGIuZ3pa0bYNEi2eJjb4Rodpb8WnoNGNBNZltI6LcHw0TjQdT+MFie+HpwsopWd6ZLq0JNQK3hg61n9sPr8dz8hwxoj7yhHKg9Yqqf7axHXI+zSPwHXU31gFgBX946MAKXWuASB86/wsHGU7L0Cc0F+h5TAmbO6LmxIdDxe41+f/4y8ICKQ2f6n5c7v5I7WKVB07tz6tjkZGHCrxtFrth61Ub0ytZIqsnSqsaxlNUBAbg/5L3bq6ZMv7mw1Vkf2b9o12WRGS5nfEV0Unjmk4JuPwN37cqRfe9/8EgyTFkfxFU5KbTHvYZavv56PEergA5L5frsmzoxOcJiFAzP4ig/tY78McKEERpR/kcUTzUUXE1lfmixC14+SWloejq8pszSO0sRdFSisuu+mu+j0QlBNsJ0uCn2j8q2dB8MryKPZoFzobt3oV/CaSonYW7AzXhpCVs/EiB8rQoVRVORNM6aePmU8DfOmU0MdYzsFclJsA/rPKQ4Bk14Ko5KvSFQIL7JyTZy/JD6pbQeUKhBys440LJGhaai5/7g9JssARSDwA82I2091OkbJ7jk1QFOFsB6cZd/bbjSE0GmFdEutjHMT/rU32uPulxK9VX7zEimIckunKFgxfMTwESRn10iUoCMHRAC+qu/9s4A8dlMiucJcSEZHp2eX3y6u3lbcTiu4Uo33DDI23tV4Hnz/JZpsu0Q1AAyyc0xYtDc3Ao2qSG/WIOGtwj8lXYOy1roxXGJQNl0WVMycS3doHm7Vx7SNsW6TCNnzFGc6xzuYSRdkaKNZR8HmRaXj/cmrmmj+bZlOjbbzRKUEq7mOvUpfmBOnBTdR0fYD4loeFjFWYCjXXYgWb9383kES60LOk+O5Moh+NI6t0LClLgWpC36kEbZVcPmuvWkESppI65dsEdNe6OUfrpD6832PnfUMzVh80VqWRQWfB8oxHw/g2nKV8395eb42LgA+eDiQFd/5jlQmvkYz7apTL/Ka5RuVz9lgnEMD+xRX1Bli6jLq87WA+s5NospwWdP6/9b/VQPdaPXVA6mGrbhLoUiuwZvyCL6Mg4WazqzOTntOoOCHs7b19fSytPJCbhj+RzcZMorE+RFW/+LKx/ghrcXNGq6M9JBdlTYRlZyVSY8DkaFFFYVVOzkHSanY1d1JPQmfL27vJcRe6x+ArqTK1iRsjObBvU+rRjhEYiyoPssGgQkC+CLRP2taGwRvTOHPj32sK/2nBJHFyTi3f8dNWyBVZBClsI4QTifsmvjnHmzSVn2f1RWYeZMlq5xmcu9Svz5BYs5WYLmGI6haYXSqaYFJeEIw7j0G8LEhCP6V3JikRRUfvkd8jXerLHpw0r5KbcujsL5P31LG6sAFI4UKM7AZRbUqquCN2ct3gpGH8i1cI3GhatVBiy3chq9jyiMCvJze0xP20NQhUcVe6HvnqEU8ADaQLNRDifm8E/WkokDZZ/GLHHgBXm+uWIVyZ40Vm1ZU7MbIldLpzN87Loz/h1HXivzdO2NqKmLfio5j9ErXcPQ4sVc8LZFMA7aAkGXXJozuV7XiD5GWKv+ywozZ3Q5bXQTM4dskGBqIIqleWoD337D85Uy4Wpd575caaQRRhXr9vMyLvbvYaiBn8DYmj9CjX/zFbmD4CdxG4IMm6HslcNDJzJ0GX/8SCmovSZMA1Sy6BzvDlTTRUFqIysSFL579l/DYUPYbGOgtU0/CS8P/xtyr+zQG1UvqRwStkNvQmEbcEgQefLAI0B1uBhjkn1YiNBhVgGLGvLMOFzP83Uk+OJzwNLpVgSH6s+X2Mx/4BFmoGKAizYHLZ9Ov/bb0KLwyOtEfwzp1sv8wphdrDi3gjIhgLK4dEukrD8KdFpp0aoLVz4P2G0v8NT8l0f+Pd21JqPr1nPIZeDBiAlDoi7b2gnAQ6jLhRLzVVC4ZdeLKonWbpNcQ8BDKl1kLSbPPInUhS34TaIm4mzqan3E91ua79dmO3287jWKjT1Y696ygZMTtNgSFegNvG3HF8e6S0H///dA8oeokWzXOryIvvojN2fKKA3rVYly8w3LBcgE5r0lw7OVqiDdmPTHdZ/hxv9s9IVHUlaFiP0uu5iLeFq3qb7kB6lo4SRRrQY9PZTGl7Zu204gljs0+2U0Mp6yRPvlxQqxXvPRqsW78azDE8fMOevE/lOwbTxlG4KZqBUfNXF6KxM0vyaBZEt0dnFxFb7TIrmcgX7JuCp8kp0vv2yQvST83nDm+09DgeVUQXq2FkcFfADO/7QYbo1VuNbygL2EXlRPr/VXDldSGmNYGaayAKnsfbtZS7IvATh9dGze+fZo4mByz/zomqKkXKejITejJgyYlHutGUzXxl9G6QpkwI4z7OgVt+FG8/EmRj9DMmWFpi5/QVuPTyoZmCoIhFO2X99W9D9wC2CvKc+n83LlOEDt7r38AdEmoX3AU7WyBfKGZuLKx2c3eHa8aW2SmiIpqHiR+eanobtO6Shg6uyyfyeqVQijWGduKx5f2Xxtv6c9/4/mG985kHbaJ6DvAjK1r+DvuJdw4S7MIw/XBRONu5isBi8v9/C7cyz3YHzkIo/orC2p3ATSvIZVl0tZgXBrqMYK/NYhgW3CMfTUFGWv3YCC2TtYaa66d2TP4KzzU1u21VMQBFu2nLZyFD18aO8VA6SbHWtWke0yqzD1FRr4L7ewH7nQpk+KeXL169ae6ZXvsNaY0zZdxe/f6u2I0/43dbcy6q4ygRuRAItPl06xDrmqYUput1CYmpOF4kbvnDlN13zbefuX1d99u0uFaV2WDjBQTBiHAkjDASB4wC3tq13l8BKgCFosoCMOWiLZs3fBZRc8YAw5LRDgYkn/FzJsQ0krwnX4rVMzJhTJezMTOW3L/xN0GVtb7O+wlJoUchPTK9dIU9eWYJ9MN77a8fnGIP4BUlzvgbEihMFSi59ZUPUJP1vWPN6K6WFjItlIyPwSDVj7h9qkY0+m75pT6CRPUgzNd6PVMY29aCt1HTVysgLHesopIwNzam4IwiTkilxlSA4fdMbEPt5W8LP2CpDfiNTNjXrBkjKOXEwXmdglbXXrqzy4+MrYH4dPR38IwIKATnXfSBKuJPqouBr+nb4FfrdOUP52zfPkRrcqfv0nZg0NVDd1jUaSrEeaWa2ARPd5VcJ2rThRy9HoekvUERZFfzrFd49xTTGrQNgnRqKHyBSk8PI8i10XN6Xiw4qXHItwydIDdzPiz83nhGMQggpCviygyL7u6kU6XOKrHSMyD4m1tC0mebCqEtVIE6q8rgMkDexXSvWBh8bcjk5HBvZl82el4bY32Btum8XTotX+catRAhFu1p2pDkW9uIMhBBcsapgGpxz5re69SIPCFduSVOnbh6hgIkANHzqd27z80eZHkOeoPEZnG/Xz6bRha+ReUCJkeRt3cioBvgRvmQjL4EJG2VProcgNmMwoBSJao6HzbPOXxUbL9H0efVVPJvUMXu0lsrK2gTUe93UIfIQQpoXAVe031e5ZFQybEjTGqKqLY8OmTAMOsl0OhqGPV27hT6mnjYC2n3H07ULW3nMXUcKO9HjVKAFPeAO5qfN8X2eHbNEQ/8wtfMM3X95h5r42GW8MlRsw+XyWFF3+gOJlmI/lj3vCfrNwJk22SEQQjBF/aqOpVIHeSjNvDTJIgsYU9n1liceGanPM3WfifTmOiz0dkwi6f0rwpdTFjOKFJ3GYtqB8TtQrXt8qAIs+aSHr+ADevUp9KMzU+p/iAu6zy5cWS1UonABMsRV1aANDF5udrKEzoil5mabzWxgmLWj0feTaZMfhausBlhGTwRpgh/uyw128wGANUG9GjGngB8CqP/A8n99tKnfLoTt6iE0vkzrxNLuzUWgkOjH65HxL1KIPoGOdmFsCsBEwnboI8rxE/GxeszJsqtlyeWLVU3l9Y16Ek908C89nFD2QzzNdNi116pi5QZqzvx7Yb31/2WdHPph5aVuN1Du0mxFgXH/wmcpcAMocl6IhXrfXD7bmToWWbJvn1y64jIe3asRibBWLGlrb8/H0uQY9ONF/gqyHjp3gz5+rnxBvx7PGxSvZ2NQ3Ivuj4h0uaCHGeBVPvZJACH8sTGjXkFmkv+rIdOCeuK4lQjBD9b36XRnKxh8qQxeeuzCYhWESMENI3REc6NhZje8nq6vdPd93gWYNcjndsYQBjeL1Nk/VEkcRr4zRJdbYJoM21BYffPtrMLV9y/C2vUR4qwAKqOs5LT7zB4UWQYcKXdmeQ+Bzzc0XBR5hP0kuk2Um/5RYyaoHYQsr2JW0cCjNnrfGwiWugxA3nnt5cOm7G+27745c9m5dzOvbyjyaZ4RWawyItUdsz7O7OYMJ+BwaDkNYMsojk1D0ZGQ0XM6taQ2CTvnSbbFdvX25FOdiwVpvwLqb3qtHMUJVsMpQQ9SHd38WWxOEgx0mtTB4z37vgGTwV9rCPQyGvmBDdYGPMGNCe6zuzA+1npKUcWS4Db5gx+CyTPlxl/6KUlCmn5btdkouW9xrTKF02OheqpwzrdcWDdySEW15OKjnyY0NPgBtEblO5oWYoO9xL31KIMQkFTVM3/8rud/2vIVCEAIs/Ep4Nhhcj1MgBIJfn7VG05jGfUlMyNVfIs8/n9AU4mK6gm5/6IZKhs7vZu+tt3vdHEX7crqY8Pbl1rt6hTOf99OWa5tbpSSXDZmj+Ldb1ba3GMoWP/ORuQ1mwe2VClRTNvxe8GkHPf6m/VzIvc0ewJquXDaoVpQpoSLJuUE4/lsW+bof4EDMQfo0j0+s7JaCY4lPnCCBylwbRmmBIJE6QLFZWAeLSSczCyrmrcTx4EQYwXBmaeUqZNX0ERa8ZNrDrPteTAOsbZ1vm3Pvos0SewzpCYplKUhMHbOluPuyEf9P1bVEuCgFacN8U5HhJoHaO8xdtg8+n/W2HbYB82B34f/RKobp1eQSTCKY3DEixNl85J/GOX69RjSWqlXbBojxZ/dCpK+p9WSd+VD0WdRcjIuuXhQbsrxQXIuU0KPyTCHkb7KMh4KaO8ilVfHoiUt5eWxAYx5NOlQWKRTr1eaXtR7HWEinEx3dmI9F8DPwTiAxzulBnSXnBfac8cO7Nx3qTB+6xEHBeHn0wJTCdUDh+ZBft9OXPQSZh+hdIn3jUM+D/x5K3RGSvmZnT2y3nV3VBWjsQPeoSQIGP7/sUG0jpsnKHvy3LIq6NnsDDBwhdrC1+p0vZqtcAS4aop0c8/1gxzg3VszdwRTriDdOYPOFHwtRHxS/18qYvCa8YvgHpnRGYsspT/uk7Eu/+d+76Nax8YSkNNvdr/O6E/iFIVvnzOdUEne2OsiAa+MWzqLrAjtcRFrMRoz2lHEeT1wVM+zNzxVGJE69szHu77FOvilSwrLugyUljITxaiuZNSVyYtgtlHm6k+VbwvgIKd9lRzqKJedmEXfGrkZKP2foRbMrM6i+QP0AkkQcm33h2YkZG2stBLxBehYQ9wCvsoLzAajdXuzXuYyVbDTqFnR4KieQITC+5uoaReHaatLmMDcpzOLyrvHniLxdIeprZCgCv+UGAg6lBov3AtRhTzy7hEDdFcrapKwD8xJh2fkwArVtmfaIzTac4Is5PWs5NqfSOe9gePEx7qAGB51vFbtevzitj6dOTi+VxnVQSOZqIsQ9WUU2chGEOQVz/5dytVEqH3AYJn+7B97QmJbKhkHOPUeTh5VWA5cMGfrIbjOxUsKz2ESTHtOMYFq1PbdveQkxdQ0SHJo9uraBxUn3SmA/kTiMGdCmXQSiBNQk0fgC9PhhB5gTqCLG1L2otnvRWFafsXyqhhVBSuE/ApWDvfq7caKvbHFjvM0XPSx7SW23SEGCzpYZ36LWGixSimsw7nnF8/cwPMSYLOvLSyeIKyk7Ogce56A7I2reMO8oNJpK/IswySYAVR7w1APi5sUQGQ7LtwiTWW8NAFSCZwEQD3y76pgNTTHysPSlDtD3SE/BbykfCSJ211RO5+VTkPeokXu6Ft9Gv6wFxFV/4AMzPECDsdPh4DNiyvFGdvatrXpYGrLzsGN+th4IZOwMLrP9PxS+SNgVk0OKSk+r+qz+RU+GRd/mq46O6k/K3IzwgFEcafQdHgwfI3GoHFMImvooGagBVq2xPkQnzyv1akeqaf5LHoVZZyMoJDxVhzapUOxliATh5bsymFNnCLPgiGt6iZLVy8AxdrpQW4nzc+XX3EOhRH8+DDgc58RP2i0hFjfZ8MC/j3LCLzkCJhr3sqawi2ExJrYymAyLqgzPHUNr5saZziQCX+XpbfC8ksPczKYGdWXbGKwYPHLX5K/71PpfNTPfupnXr+PAK9LKFWRJe47ED5Rx4ZkarE/O1t5wX9WZzzAH/PhfHjXLC9tFpuPbb85B3RW3aw0EhfoYUR6SoQTC70BQ3NPUK+ATkde4Fd32JXyPAtLLpVntRVc8G9+aH2z/vABUdCottIwM95w+VKrqztNIukjjPRcVlWg/MP4db2Ji05U6ktyblwTTxqj83GZEek5qiJMwENTQSZp8LomMZmytWQLmEtRLciJWMncHl0YiagIzBw9OJxbO83Po5xYJ6R4ett+yZcCQ8Pcyu6FkLppJzQibmGAuS68zzJr6bIvm2RWo7Y3LonzMddfaOrVoutwy2ztvknrXntVxCKlSqCwTOiGpQN5eZSJSCTRBfDwGmtGwt7lL3Su2NWpl8QypgPqWebtoPdQfsaHoNc4lFnnrqXOSos327m9Q4p9a42H3e7nJuWyaI3BSfUv58T7ySVZFmb9NZ7zDe7r5bB44OnWI0G/IK2CC3nwUYbUtCkaDPdTjmMEmBsOw5xOr3/J692ZYx3qCAkpFwyTpo+EFolYdx871gFG8OA6MzApNWnwjuXKE1mwBEBq6DYFQ16BCfbvNljrTNqW194RJYu8Ic8frNtwfv7EBqzKvAFGUDwvePBCbrwCF1a5wb+tcltxikmCcT5N/0prfwfTlo/XAy99aEC+WOWBVgquaJTTLm4Ci05AruqxkslGKeMUnjv4UGDOaBAzwaL1h8Uccb6LsJUHs1DdmMhz6lulENzPEj3R1bHMTl/oGaqrTRGNs766bqKOuMCnIjHs/EnGK1IOP0N2POK+RJIUPWAmLASOcruYzFb0qSoHyXYFU386fzebon+AFsQ3Wn53jQNzBGC7nr9NkBsEa3EabFadxg+B3NnzgryuulaciNwjPZper9bD6TE5vBkfEo6LIuLjblQ0AWPy7p+l3zxgWBAbhmhCvordeaL4LWRrtpLDYQ4O+bJXzsnIseh0oKEuALa2AMhmsK6TUWyuOMeyFW3bDZG15r4vmyoyVl0LnoQuscfGu3YOdc1lVIwklYMIE2uv4N/5a6L1PywPNNh/6yNgZ5ndM5MEQ3n+B913uQ8H5IChGShdTykCRj8izpAZLbulXKAkPOcI2/Bf7QQVfDQs33FIviaMXNlZZzB8bCFS+5/3RnL2dU2peeE8ZwcVXXj2IluWKYlbW0v79fo1jgndq0iw7GiHah6F0wCOlFXWsgWQLr1QYqUSpNXa7twFhC1KdCMblep93uRWnFVdIo6kF4ixbnXPPnxw+NOckhjvMdjZyd2HZPyAdOc+R6jHIhgFntMUBFgHebnu0YCvfpOM0zH7654VvPfrMornwxJ7131COQanDb5CBDyVA+FFGFtzF6GxkT80dwnWp9YZeMr5kfpjbQOXM8qCBZdgzqykCel60FhQYCR0myCejHCm9ioe24YlDk3FSbQ43L1yHiz0VWwD+FFEddEk9Pu+laX/mu+i1EJegKUsOWZ8fZPZPzng2y1IJpwaFhPy5HhmqFhC1kyZsQqZDnHOJrd33QKZ+BeuyrwRpereGRayN4bnsJFd759/YMSlTHEH0lWp5hM808IycP84f1YgchFZCyo8UUkIWKNn6T9MkLxUfq4+IQ7k0aFZlrMT2nKWHoXJawyBARYgpwh/tczvMyudzLW7TDr3NNls+yjynRa0XjhYazJpFtTT6NZlYg875doKik0JNFL0FNJxA2EVMXlK1MTfM4aABPVD0rHl455ygfWTM+QSpEhkldof/8f9gKrtmydw1A7t00LBRPfXoVbPBZlfAb9qc/4v92cZ9ruHmsMwGNQazkAHMCdhsS9OIEHnJhvJnb8orL2FsVcWOvwxIR4JUExHMuu7CnVIlrVoJ9MRyufH7W50PBKd67JKAPblolzCE+OIK5ass0Q8xygaoHnLz2LNeIt5il64vAU957EY6sCog5pa6C8Jq4BUTa9epWsttYrhAL9vJJreQFBUkDpVWCcJo0iJaqsaf9JpsqeWgSU945V049F90ZTa/Wu0/yUr7NYfV6QQCjJB/KZVzI1MpKwWX0WUcGJ6D1aqMi14H4NiThLQ3calpL1igvWp3jkLnOgBKXH1RXPuAn/PXXdL2BkKO6VsyV0ieKNYuXpJtEpQytDkz1R76AGVF7WPNEL/vV3Pxa0UtIwHko9f7AG71egfSIIL7qlwH/PDtwjzSOmimRqCd61fnaQt+l6vrsTZ6tQFJZIXRwnsBdiT24GgKqFIEWDACELCR7bi5BGHeXMg0mF1IrXZ4WEGQzfH4FwpNltbf0mDcIwGARiGGUad4SEGmIInUXVm8J5PcRV316bjUFFrtzyCXE0ZOSICOJnO3cJmVDw6Cs0D7DLI5N2kCIErZrezQfHoDRXJR/gW95+8IdrsXJ3/J00n4sYFY65/ix/PsVUwbULYaHhG4PJfm0OWe86xhCWGG/zD97pfZ2VGDgD9EA+ouKj8aUBFrLdSQ8jcDPrGImkzXJsSkvuTPTuTOYtScRvvgd8C4iol2nCkEf5ppYQtLGg1GLGfLD9DJUOgcSACZpvOZa5zeDLoXiAIuVJSH0N5pJVnpDmNz0GRzvJuBjvZP49Gq48ljG16gLbcG9sSKceY/Yk7TszTjeNNDwXE/48UVVwXjIsUTCyCrK2DePUPhthzRJsPiHov7YE24mkAdMh5KUeGg1cS+qnSSVK9ciP2RWIoqJfT0NLkNRy9ci8xNPUZ8RD8jHt6TlSr0eebgQi2HDiNlkqx7gND+v+tWOfr8GWF7h8BEUy9vT5bqdCYyMsqZR9K6YDFYQZwC7OseOcWSO0LkIKyYQALUaztxe9t5LNYrCevka57/sFcchyV2o21V1PhC9CI2gB7P3n+LXF+B1AGJJ3bTu/zTUuXDXvc7cE0dKFjhb05c228yiiGEplw2G0DjbneduAtIvgk3cfa4kuKu3MlsCqr3F1eXcVk8MaDubfV+bwvEeLhMIsub+16V4YE7iEEn4RH3UEasK5SKF1BtZqGB5LgGXMxp+5Ae7Mu4hhnAmYfQmMsoLHqmTTYSJC/Fl4fShGYaWMx5N2BzUvlJlVtV9VT9UlvdvfmXCfd49/5RHVJOrWc7XCii46UGnZBod0iBw4VI74pyNP5ewct+D20IhaOkNVfIwaL7lMgyNICTLCmDE6vlRQHjQGGm1EzZPeVmsTlMLM12sRVN4yyy7rdogYHGWeGylKKcdb2rNRF5islXNzBWkmYwyva0Jbdpf2S+A685yp9cmic1MeWnG4xDesbXDMy47tNgtTLFOFBldMHBNY6dUjT33uCMCe4qVfkl7dbrfk/6gAsjm+I3cW+tOQEpiGz9d6sQdNI8iUFW5fIROzb95u+hx6r70iP112YPDfULDU97w+MVApHyAngEWDIuaEdjJLSPLqC9SIG5F/QzyeJqTCqgZJQy+4LImkk3o2BPE+HYi5aW5X0gappUVYmLwvRq/ZdgxX1R0TnFdq3T5niQJWrAtTHlQigN0Tk+KKe/eYRlabI5LSz3O0fzXRP5TL1ptIWE5WA1F4ML9EQcfsc/bmF292hE/nLa8CNaN+83e98ZK2hhxZgnLmZDUZiOl34zJw2AdzgwJjgLTk8T20oXG7onJn/i21wLU/HHd+dulR5sgQ2x0zLkFhN5NrJY4q+p9MbyPvyNVs5p2qpGR0dy0pWB2qXNyFWes5JsxjQb9ICHwnBOnOLjSrnWOFCq/mNhT/COwZGNRQX+UbjH5XkJBk+vWHE4shjqtpa8hlDSBrMdqWtSl1BA2abu1SURZ6+7Jz09rGU9MYFpRks9vfGTtk+BsCj7Ti0xv3yFuBeM7TcpzWMSeskoVuFlzouJ/U0zpmT8KN3MELnWh/+OSm81Uaj6RAktn0RAY7lvMMBTeKnt21sBc5mm+CRlEsIwS0jSy1rSX/lv1iQinM+r/cvQuF6RXfpwN0/342K57ymhllfPaZgyAE57OI4K++vCtqWDuMBnbx9NELU2Eny/bdmR/WGx9mMVfOGcwDEkNi2xpKWrjTGQaabiBjE9rF8VJ1fCkJKfFKdy4jA2yewTgix8jX2aU4nd7Rlac0JcXqnAPVaeH/GjjAc4qF8hv+UXxZUdYwViLOY/Roaz5DUZBFdYag/S2Y8vxB8wAYr+VCCl+HYCuEtuWAaMNdjnCuAct6dnc89g28JWzdMfv5Vq9daBlovF7uLgB4efHH3N8SVACnAu2smsGKt1e6a4mnvixE+m8JZlnJUK9pf7KUs8/nZltEzmffZ0dTEN1OJTRIPSvFuqkQpW/P/QjQKncAsmOGk3skBB2Vq9mt2z5VuXsKenZ10OwVT753R4DOaNgMTS+XSDr8lNjkF/SUlbeuo/T7TpcvEVjuUqLy9i3kBV54iqvrJyG8/XBsBx1t8ISZNObWjAvJFXL8goYAeWG/53Rs8ptM9S90ijmVj/19gY7LhoXjsV+q2VpcuzYpGE/p/AqyGMbuHe7gbWE9qU97H0+zA3z+RuyP71MmPoS0aspoyBY4YG7CUSf+Rr7OJEnTfylFwDUQMOMcIA9UoRcKZjsYyclgQJb5kOM4iaY2iIOWoCTpcZ7yyC3BMO8+ccNUW1hroMb/iwKjvk/fDHV36pvVfHq8DFgcXJa2moi9LCUoTx+cwHq3karmjf8b7qDI7bHY4MaVvaGa1Qk27cEvD3uB08Q1V+ThyVGJzxYxzMEEaQOA4RZTeT7rIA3cbt0E25PVFEaLoaEeqTSPe3LDWWUw3cl2RPIrHxxvgYxmX0SID6tFSk03+2n+LOvruoIgEO9rNUNBRZlXTmCX37PDMy6GQ4XtRXHVb+RESsAtfXxmiZjUWDAeNXKsBOCl8WShv238DdL73+OC1l+ASBTxxW1AK7/j/qM0xNuWac7FQIcwYOajVaiW5L4YOGvOeyRoOtORUda9oWso/3i7YV97toYNwUcEAaktMigEvyZMaVpy7hKR01awVAQEQsbaPDtIJGvvkJA4lmi3JNEKEEB8nZuLDTpVx3VW6WMS0/oxxZbYxktaygxDxpvgSbW9BrDyAaj6c+HNuUe79RgNakknGmMFowvnQLbYLauSaAFQ5feoB5VALGC7/2+y+/7+WHvksoQoaZxuQWCVeUdFqmuJHDxPz4XvKgqa+32sgJy8ZZrDDsmXkNI3IwiD6Zq6o+Er260je0aAL21XzRcIXNQlFCfmS0byGpWCJwAAE1KxQ2jH0kWZHhzprHyG3A9Pup5Xbb5LZmkU2beZh5mV5DshCSHAi5VGhZrvFU0k68rLktufC3nq7abZCit6jwQgsnxg8nDvfvAairgMmyX+CDf4WtWSck1PKk8G9JeMQSvMPADmy4HlOZKbVXfuClXq2aHMAc6kJrAEjC0fT1DyzObKOO20op0dYojMddp8vws+v0YYPuyIJvJyReSQMGnjHExWfD20Yu0Rcwv/pHDGIzrs65cj/vcBsS1JhqWLoWCBOa27AqiNZCyzsWIBE29Ke2bYZIz4daKlphUuiPyo4miSnNCkR164AyoqvwlnpYFoAqV6c1HgkXtrCFKRD/b7iVTmcoPypqtOvo4gF6cCe7sDiMW+VXmiQcKCHYrdQKdLWQ94JPXn12GBb6j2j697A1Kd8Mf1FL0cQi1o8+N7ordkx45PO7JINP10CEGZE5YzrRVO1zwOM1uzX5mdGbXyjt++0XJlNZFuk+Ju675hLdTSGsrQOOtG17j8ZTONH+bCpenJ435s8Wtkg4BM3jYQkkyYIxzFlJYblXkqmRxi9/rGzr3rO0Pkji2UpHBP3iC7AOX2AyeC22KZy92loJXN7TmQpDYANELxDkbg6LzM11AG2ilh539UjnCUF6hLV6cug4B8Xql4AgzWcQBG8xGi4C2drP2zfl42zGTj19zaz58x7tbbiJLqHktgMfbMrqvWXlYo6RRWEQnQlQA9EbARk85DE9RO2v/2AD9Uq1AUtozOBzmIvtZ+BDATszvvjJa+3ncPCterEtxBragX9HKwckKTiC2LAJ9o6XWa025w/+eqUXFcmmWRLDWcOlNdpaW1VC/QzRChDnYMhlf+0O4ngQ26qLRR/fGK/6AWWX8bE7dEhYEI6jE0EIWjF8ATf/VUS2rSybTr22AuXGADgyqy4XwQyGaklXhZC7kbtyKZpIg2sVzTHdYwPzdHvXTXfQwPsD0chpDhW8/Vly1WNCpbuYJNiZePAMtyWg7Ll9tC+0nsHHaO8dLjUXZ3O2rguBoDjkIWwBLv7GtzAZWWpATrpFbXgn2ZiKX2HXZHNu4JovYhGlQpdH5lReZs/VU+/N0Qaxr5RT7YqXgZ2wG98JIQz+WvfoVrZxfZ0kZIa4ixLAWt2glMn7Ksj5MNmeH6/AGIjDMxJ+kAMsGKMcSUVKazdGDiJ4Ksswz2VW8Sg5HFM1p/xwGv2y5ggphklZkL29q/Brv0umTCh6zo0bL/km26DZQShqP5txcKaSMoDqas0ZLR9dgxUV2G/oxiMrZQwFDT79erEy3OaRNJiGmTJYjHBymGJc3oCljBadCpVGcbNf1rh2tcUrjktyAlur2u/07XYI52dOemYTOIURW1g/WUu97rXcTVMaVrx6siWVZ0+qVRk7nJdMn1+8E9EY8OQkhhojEdvS0560ymmtENC31G6b6/i5Zz2QY9Ai8bb8yOw0brv51/irZNMttn0I2nTxCkuRlqZhjyBItSzUYZVPTy7JHE4MIz59RCUElObs00eOZg+YH6eWVTC+wTBOLOcDX1GM36ZSPAmaj5pl3fsOpqBCBXwHJ45XkoktZIHRnqVmISD0w5gPNX6UCdBKPkjwPdbvJIoxVFRxnzg5MvI7DJWJbuOO8Thx5W19MGzlFVNOIOgpNnrVpkr9NfbeUAb7OOyZfaoVsG2ZcI6apCOSbneEMws8PfWadpXwqzNAXyW0HxCEJo654tjc4w2ouF7RVtRuIOr3iVwJWr5NdjRNUUg+9L/gN4EVd7Iwoul1KrBXQJNhOi4aOTpZmdV6q3DLdUPUFT91UkgO7e9ahWOpZaE4/d2EdkbQY/kfkrLQzOkmhU1C9pHUrSCspqeO7jO2NgNk5YEKtEXTvf1JKM1Er6b9xGjUovuXZ6MstPJ9/yC6BIvFbYY768NLtTRKO7hmuwqAFsJC+o09riMkqxNeN5Dt4wyW5LnVWhQaulaOADN6eVgFIyE0A4cp8z4XlsrOQPDhzkScf/C41O5mTfJSIplGgqPZaWXGksHbEWQ4bpuBuXb5zrgav82cHfYu6okjWubB+vQnZ3nMtkwypmvOZXN08XRbpm1Kl3pj9C2RWKrGA13FEUSXcId3FtS23EqTGp14meBxSyPxgrWW+yCeqvNDCpQYup2eD83Hy8hfrb8d6zZhLZL7h3OA8MCGCk9GDw9dawJ5E0ev2ELVNZuExtetSG2S6W8X4sEr5SZaD3DK3GeT+E6zTn5O5MH+LloohLqygIh/BIBmbOKN7HVPR4akFxIDk7BVCuNdnGPJd6HzctUFNr2AE+SuTV05E8KFHNsdkfnm23mCksdp8ub81JdyVKpW3fF9+vp27kjseihgYgAodsN88Tf8sTa2kOLiEarmEWCY//Jf2k1dPn/UVhv/GRyiSW0w0UlrI4jDMrXMAE6ZNvhcybDCPOmOnok+CqS9ROWrJL+3qVgm+pVaaYg+wMqY6c97WPdk8lyHSd/J+VgAWrRQWLBjZV4ZCod7LMjhPXRUAoZmyz5pEyQXbszmD2lx6nb4ss0VpZ27oeZfh/ggP0JygHlUhqoYz+Jinqp6qWpgKZkUJdPIKtdC8Nglcye6uKF68ieK0E1rxfPitIV/DfYlwQpojtXUrhzjQ3PHTtHq2XdsxJssQ2lQRNVIY9h5gMcHcifo6bQbeOv9XHv2UDMwL8LvI/dA/q4C4P8nqpaq+hj4Zw4XHbXumziNGRlDmKFN5NJ3NpOYFkOhBdO6hKCLvPQuWLyJo3SwdN0Ibo1ADbVo/hAbAEeXO4ROvBiSi5r8sQF8thrZpoAA4fdoQXAMdPQhDQDm4/3vAtQa2zpFPt+FDqsk5HCPNIwXJUj6W0OKfPMb4QHsrVBqazTbhWr7K2vqbKBXSKvMM8Pe0J5OPuGqmA84uAYMnr1U8OYLAoAllVejP58Cm7YlHTzsnM/Qy9RGryYNo7kewTZqtThPhzY07pz0koJth/b+8PJlP/mjmYqdrbL+hZ5R9M67A3Xk5MhioWrVLW38xvHnpC35vOb8G4NjR9IkHL58/v1kGzl6r0cmUp/vQUj2gbDnrE6nLvMyUfm8Y2xWiWkYZ1xX+2Gar+mu22cNskUP5+OgPODymJiXWGcQ0u3cyLqj4jj8t4nvrfWiHliHPBb6KHltL7pHpGFO8HNUvIpgLYjlry1ZXMxtb3FeBRLieEqguWHOehcBLDbvLB4qlCzHtoPMzJXRmTGoQoym2vCOYbz/Gv+MdJey5lUZzr/3aKZ8b76g8TyDDvtBH42YB9uUH0p47xED3aAV9EGMJtvDY/hgP0V+15o9WHjGmAmdTJ1KoCxpkVDKo5Zlx4r8OlQ3SnGw7VLYmsqQv4UouW5nrM2oBooatS/+gylSAjiTJqiTXlCc+WEMYlIh6nh3m5+oQMbQy4waIzzZfIOPGMeOFXW7imR2s5WHCF9qQBfu2/Y1NDXnWUU82kpZVabngV8N7JF8HAU/zvr3/COPtJTdunIVMcIgLA+xVzdssXQG7eEwdm3l9oj4DFQVk3CHqJ5vNFk8WrN9/zGkc239qTiCD3B0GqIfqhj4GB3XwtmRF9q5exFV83eUBl1xMtWMMu2O2+wn6FH4z11wuf6NmhMSSLrUu7pQ6Wa9GBemlizepuowVsHcyjgEQ5atdVup7WBwjO9gJs/VBIO4vM54c57GHTdKjrx1WgnAN5RT+D8+3zUEMRmKGOMSrGTnhOZvEU/zWrmSpq4l8DC/3E9f/18oGXPs4Sv5OqvjC3qeIY4A65JyypZ/K+NN3CNdct4+S2HhGlt8zA0g056yAXLooHgeT/mDRhzUGrLXvSckPj0tXylKsS+AJKwdRnMqFVpSlI5AKFSkGmqhwfaaUvVL4dN0u6uqF97+8hUqYdOqW9mJ5sYtz2BepVsKRsqZYYQEi8iZhQ539Li1x6rLpYxMP10WWbhfsh8GO+Xxih84NptASvwBXpxHqiSFe95hiEtTDOG8JgrUvbTa7CHLlT8K5G5bzF09kw+vwz6/Ds1nC4nAqEItNgHt9bijllS6FMBt12TQxXpIiwf2HFkcaYiGQ1entlwFms21QgPOMobD6Y6BL0BN4mQz25TINEhLYZXKuXNPJs55fKzWlUZV78/0zVeGrrsGeJGIr8b8/AW0zYeT4PNqE6TX05shwyaRBhjbWYUi1TiXXIGH1eL4V/Gxkeq0KLtPbXb9mZqFa1D6vciP76xFCMXdg5FBe4/nsXdTHEm6eyDfDpHab9Ai+RTMPoMzEaDliFpACw9PmgEoQL3YRV5IdkScQ6srTkZVyxCvUVl8TgkVU3kVCZnrYcZMq4YqwqgMDygKUvPK/tidTsz5ViJHJlhJP8YfjUxA0GEQX7F7FvOFfz+00o/3DzOgNy2ZPNsYmk9P1Oh4WRh+DRQg6DAFaATiMJsIAqg4lhAKY0lFU+DrThoLGpIYj2qc/FLAAQmx8iwtT7bAXMg+n95X/UvTclN+//H5qp7jxwcdpjcOq7Ysa5ji707Q7LHtRIkCA/PtxjB+pZqt0OswYMEI4VMI6AARX1RmJAgbEVyRKDKZ7fe8BVXm1FAcfCn5iuqS/wLvqjkdfzxtu9XBEsxiVQGtQgs1ZsN6UislJu/jQdsLf0ZIRwvlYejtFuBC/wTqk8cnwiC3NXWPtPrLXV4C0iJGIedgjWOAE5gBqb58ITh2jgjeRgWRNYhXBxXQsl0PffEkgq54VVSPN1eX2d+eJJRFkqY7PworEouElfVMmKB5VHVluKkXmyM1Xx6kURBRQb3LrbapFCXnCiG13RmPH10uM4E4J7Gkni2MBt5yMFeue40nFfn93xraU9CRgxi/Pl79oAX6oMeBIPmhXnqkgP/Y5ISPSC+n3YtQWXhOQ5EkHXOj/xbT+814/VTiXMJj7CWYDOHGUAZK3QEY3hd4C4sIszyQnrv3ChpJlVma3aiE2TWl/II2uoIuKh6W1YcPu7h/kIfyEsYC34LTq4JYEk0wbJlfCDJqEPmxZZ957iZlApx0cCrSmxx/p+MS+ujs/x9Y7FomqRpW5nJzy1Q/f2RIBXaZJ6QtKKGUZdyt8mGCo3KbWolVZqnS2ev1AnHJHSKVITSntutRsbMRHG7wuMpKcvU74hGYAAsCB3OX/C4+Etmdy3YECn0umet8prp+Hf7TU6jEsZ19EpkhtYcSnyxV9LCFfHTh2Zo8kcYbvYsi3MzmiZO1LwaxusBKb+21XMpdNa7fT5+l5WsR/2pFauuj5oyTIHYWkWnuRJrA3zASw91QbWsr/eIAwXvHBszTzyew9BUvhqd/J2Hb2sv0Zltm3409B00XSXu+uk/+9hIjGHuMA6sG5rwQs0cOmPSMJDGxOBQdr8gyJNw8RE2X4c+IwC06S85CsjGWv4gnLvHsoSob1kAUvop67ohkXpUwOFQTFcH7n/kes2Hf6J4JPOMleVb5zHYbZzC5LFQJ/WZrpn46Whxu7dWFOXHRnFMGoMJn3N9KPawRgsbyhrLX3aRa+P7qGXyjY/fEjlvsQclyNb1GaA3bQIEg5pUcFkc9t5gEwXwnLIidFt4TOYBR7adTlBnS5Il8f6/UbS8TtGLa9v6+HVqdN84NRXD9uOuL6RokjvZgcQciOeLc1ZxEjEjRv6BlKentLjaT7en5ZEkXGrmrj/T2SuqqtvtclPsf93TrtfJnJjE8WaLnRH4YfioWJFVS9OR4nBwwI5nmxa50wUsygScrOwmikHlcuDgzVAGMSjeFBMS4Z2yVwkZSCV+/5BTMvDru2t7ldphU4uBNPpb4KzjML0ATSXA0nlUhWy9f7+wsm7XxRTFPbzVLvlOKC7bIHv5JWJYrMxoJih4UFn2WOG22UYKTm3ee63xqPFAmff3aBM5G0AZRBgDb4h/5toGMFauGpyGiOyyScnzHs+6Cm1aeQ64UJ0OMl9UwXggTiIP7IJFPho8nhecKuMXr8VEQ7OvEuEhRVvoTmsWWX9gWvnyLFF4cLCd8zSrmqfr+NzzAKR3uFBRZK5IaPnLiidnB09nx+CeXDbjgQfWFzETo00J/xRPuEMa9Yd/itrf6u3ussiqaBSQEjnrzKtE8KUuULOTjN6vqZsoQzY2wOQYSfmXiUbUR3DvNe08PkDNNr49ynFJyXzdf/p5dGkicB7ucv07RubIAmbmofXZ0pJXjDASc5Xazeog9mD5Gphh9VRYUvKOM1PWXeMhU6MkLP/mqu18yij9lrz8or2VoVBhsmQDtQvda1bu3OVCaQTM2BZS1zZmrKxDKZR/Zfgi7fR1il3vPB8NvYJWKoASgfPCsVnRRWUE46HATZzctwWBri+07yM2QluNKtJQ8M3N1cXxc0riyVwXlUiDhq1b6yr7iC6bCBfL4sYyPVYVEOLD9eIdwsPtTdMAzS6jopp3VI4TUDRZmfN4ecd5IFDHGKaI9VMIlzYJiw57ECiYC22y9fKBFaJgRbYPy0r0wu7RXMNmQnegMQdGjcvWXiN4uyCg4ES6w6EJ5QJjPCcY2tuZCyZ09uIU0c2pmXnJx8pTBa9S+VgT/oz8SX4/KKwpddrKPVR4pjlbo33FRTion+Pl0Eypf5wjWwVAcAkOPPIe8JEQUEX77MJsmaDCwczQKoh3fd0j58ulOKtUKpRp8RCuMldOgyv6zzJ2pYWC4OXhGM/TZYKCrTS3HcgPFGKnQMk+Id47eeDmVX67H4fL2EpfcP6x6KpyrYgpeMcp5MdSOm94cqa7l+sCGAV0wgAtr0FtGShYMosVh31rOewU54VQVioZ4BldIDjM+daAHo8krzviUdBnht6qIgyiIkTCc2X3RLmDAvxsck9YNQzNqUr5r2gDTJB9kVejT+P2edyrv9lNATG4l49NSoxnUyR5cmFGWU7iRCCnWcC3Vi58GFWeK21+kNfdXqhVbu5yEL0Xc4ArQGPohr3yfANCt4DWgpw80SASM/epWyaAlIwm/d+VTpuYUN2CIwRprhRJ9WbzMy5TST7UAcOxa8K9pRMXjKPknM2d5qsDgoax7c3pq+mKMNWf97XMd8a3cu9xL7G/8VCDfifh43KYI2wIwOF751s0EEqJg1Yt02tKttdtVLMwV1N/N4LV1pV82N84zdjSdeBl5DOM81vqea53Mqveg3klSUq8dEulxX9GqOX21a6dUGJOR6B9/wFIL3cpebOaj8aMU5tTkvXy150ekVE5/9ALobl3aPC2zNnDFrl2qHjOhL1IQ1RzBRofEcAOWhikgKQiyDB6482RZow0yUV7dXced2IDlyKz0KaVOv6iFNQLt80pmC7POsjEy0++g8i+1GYLQS8TfalUcLx3mAlPDCzwMtC9Zdyds1vapZ7h1DwFYOSdOxrw6SUjwLNdLWGPzZfAMv/T9+W1S5bQ7lOA/Xj0Q0ThuLhtYPOhqph7syt5iJ9TH9vBVLV5JHowDaMuB8eiqEOLTjv7q0Jbw9I7+WEkqxwOEN41YKGFXP77cmPjAIteWHqF644s8M70I8K3Vqq9Cm+mKqfex/fz5Yuj9X92zo8xLCR/suqzsJBOIHLKXLjn0giKLmAo9cH14Ia36kWnXt5FE7xtWSFoLwf7ULuncepgGj/o2oLbFrI+gK3HTGWQdo6wYwPnBKKNDm5Qb1SGxrfDLuPdULPlgGME7Rjh/54Hbjxg9Dvy15wVikloWiS4bBd/Ib73kKfZVj44wwWgo0Rgial19DUTbNde4kA1G8ApKQRlJ2WZ2NA6YnAZlR3BhKC13IPxUwLFyACI6Koqjt55uUQu40lK8GPNEuq3EHzHNwdlD+n0si//4yE9v6/u8ZM1DbvKU7HEzGL74i/SACgdiRNUQ63K/gwrY60Xm+7G97s11lodQfP4jQz3iVmKayVUv2sq/4Qio54w6BZEzh+RehF69qklV0ZhdL3/S7OiYZv7nbi/pDrs9csL1BFExQVhc07tKZ4mvXiaqF/bl8YrFeSU6403mXAXC6jM3etDj7P1HdOoAyOSVx/Z5oUwAi6HV+kY+5tmmkMTeGEyERYBZ8lK4mXRkWG4LJKZCPZTJVbfa7nWLO/QuqEctYovLo9tt28RtIzK6cQnqCUAYNCzFdGrh+FvumojrAbGT+jw78Oix2XMle1zWj8YXp1uolg1WYE8+tl1oKOvdVYzHGM5kC1YxltWw1fwQT2WE43t4w37cjCzYis3dW+dZE9W9uBzr4vX8GTpBplKJwWyUEC1RBqtZV2zBJMWW4wsROJUbSyrkiaURMk08c3UsB/v7s3Lix3EJMlDKN7o9j8g/goXiTJN3Luky6IRGKsk92cVfX5mnWK4pC3M7XUicDuZzLQSNOOIfIftUHym2AQmNiJC1HtbiW7G8FUavJujnfd74/ul4nmGH4k/qK46cs2XzasS7C803VgmrYyWYj6NsnzZ2n0wgyzoHQa6untT0Isgzbqa2nVO0PPnOX92myK686DtkC9+VUfqKfaBDuHCnAHKGVDUevW2QqjirJTN5BI8+UYL8wvDUBEgBVFAMImqmZ7nF/096v/sOKaTW5GjeSSodEWqWgSHmDgMWCwShkEDQUIH9fkW2HufnZPprQ4DPdahFs54eq+5Jtg6GBsTAiDIeVTIjHFOYdLk92H+g8/lNb4zdhxuju78A1WH8ze0SBROm3lo5aYcMI9y9lMaYuQJozc7xjj01zAS4vZpqMD2M/tEpTbn9zemT0+y8GwW4oNzU1Ja7gYfLJQEwi8ZyU/Gp5f5lzkVlywm2YpJ0vRw1FFustGApbP348QWhnC0nx7VNjkdUUAMY8ejpgFE2coa625RrJTF3rYmZqAI8fQzIPzhgwMNDvH/6fGVUNuqA64Yt9d7/+gATgK0fo7obPc0Wtx/Qizw8eTW5fK+tRVahtXfgzs4V7fvfCEuDZSd1bTo4C2GEidj+RlI3F2v8/g23CQEzWj66hvUCR/QkO4jnpKMnZlMUVWAFJlgJhPLlTFj5INFPxBNqalu1rOVmazN4d/tyaiiCATrYFn4PNdDqlZ089ZfbvsHXCEPTWyuUHbHFJeKei4LxjsFJXFsbcXXBs8d0LqR74G910ZG78nNxLkcWd0QrgbJX2CJfsU3XiKtAf0Cy4+yzWJDv8CBi6zlR/HArEoaWydzaweDUbhDPuv73mRq8A58LnC+jjf5F009zZH/pWTjNcOkh++Y5CsrCU72GUTPwZ175A507b5MbD3IshCKB+autg0JVtuXpcPNqLn7qPXTpjeXCPzIks6myNoZz0fB910MdX7WwfIYKk6zQ1uNIpRENVG7IsUvZPkTQ6CMZzuX13iMP6XWHkFQfud1kiLmZurTbpUOZocs/PECC7V4eKG6heTNsYET1HVa0BmYASchIz15znPkEcxmyTCeLliK0Gdfhcog+nDcSLhlKT9Q0aiMKFzZcU39Fk7TSgqwce4/I8MBe+17SNf+2OiJ9CbZtx2iNT1P7hmGPAeL93bBuU/JwCCcew9dOsr+6t/hlbE71FblQbi/vjA5hQZ97Rc/rlSEF0UYX9PzYO+GT/7OyF2ayyrWxZeG4OeEo5IRJE2zHqsCBftjGvrlvghNioWDUKwBylnDjSNsQ+9Kj2uGgQUvYGq95AWCtvwRTWsG/0XXghbvveD2a6ECLAzG+f1BOpxigfC5Z9WyldEj0Nch/GTvFYJ2lZYNgR54YJ4c9cye4AU/iewwFkMuoIHEJrHpHBj1PlQEo27m21baXLBkzI0o7rwJbMuPKKEa7uAfHl+JwD+MRKPcpV+Jadf5P8WIQtg0VwksQQVzf5zHP/XJffYa6LHAkJVX5BUSkcUC+2rZUmX284EkYgzBk6ErJpjSIWWEDzrt2VuFTKtL4XOA16rKhEN0lvcAfAQ+O5JQSf1AlT7qy9SDx8E8aq2a1TPobpcX/djDNhtKklbTNHclWO1R0om71xgdkpd72xyYpXuRqSDlaonOlzJ2qfQMCYnG4sBsmvrofKNSJbnowaOprKx5Zb3TnJ89Y1uBcWl9hIfqoIyVt7HJbhKKA3Icfny0qBc+kMMMVmy+5OSsOHHYclS6Knz9WJKTrSbrCVsA43BjnZ/cwBNv6TzCjM53x3aHLBLVvnetPK5X6M8siJFoXr2iFCh66Sp6/abi/e9jR5n8lSWJzvDic8VTzJaFx1ZwsUcUSpnPOA8nNHYeJPiOWdCX/tME/XzZwky/1PHHFo2S+7zAkSnHm1BD8AuD3V84egzdxOM7rAQ1PxDrF8b6SAFVPkC4UHljfCDKONV7qCBnltW6z014R3DTdMj5wZl24hZPwdmzJOirbtF19NrNFpwTTAj96fWvsFXS8SvXbu+2AT090ne6wQTlZYKGq+OZC8rnonWgbI0DNAlOYeh/gEGtWg3GQC/D/MBNsn2mius+ETePDQQfgYdR//13mN7b4FzMhhngXBZHQig6h2ttKxwpEqN335XfHbQtvtJfx5hesVu35Lj4130/dpqsNJgIupGv5mxVoPiUGSsobg2v1vcwtqfkWeL79v5lnUYG0IJlaa2NU2l26r0SFGMEY0twWCZdeEFxIHLzy2QCM9UYsSSUw5Nk703Kas69tq/kiUmjeWMv60JgK0X4i4RbJcYvFOgyQz2Ifl8IN9x82bUB+yNa1W5OvBwdZlDmk451v/esoMJ7RB0SgvedI6zYNv1gcjnACjoVmoMdNhh6NR40ymRtshzQZdfNPgM/P98k2CgFmtrC/w9hun15/VhdJ7tD87zgnAB654Q/i3ThoIkMrGHbbPur+g/4teoXev23DyQ1JtkliZMY4Io2iJEjUNmCgZq4a+5fHVXBNbx34lNRfJuXDfLaX1bt49R0/ILTZjxpV/R+UtZahfA6CWVsjB6rDdTogc2R/754MmeS5xNas9pGVdi7PvOInEofTi03Vu+rXMD/kMlwtnrUREuy5aMEhtKSiGlaIr3wAzZfU+ccEg2hVY+JMdTEdFBaQChm2wznju/ijRSL/kSALozFF5FI50ZeN81ORyBptHb9encUowCqGNOzkIQBAXXQzMgJTI8Kp/v7NfxYLLCWWWVUkHWvhyKwqyb+GLJOPkmTOFvWn9TjgxIl/Y5M9WkCk+CruHBllkC1+WktzeA4i1sSc+lL2XfkIIW7cV1T+POIyRQCjo96cDh8tpoDA7YzQI+gge9d1IzkfPCCBMUKdoGhXLuWFrpLhGxr52Se8KiUfZVFmbEyBmzSZkKfvdTWr6s9wFwDJszD2Kr0BjCO2RtAV0yRTa3p1jZAzWDlcd2ykC2jbeMkw2T5+tXUsbomTJx7i9BR0HD6H6fSqIiQ2ooxv0M/1wgdPS9GdThaLTkJEhVAztSDwINyhHInNJIydZyye5pmwdNzeL12N/IBfcerXqZidOaR45lUqWb35VObe5LQHOHczjSnyRNfA3c04H1avEllvAGcNlLYKDkNXJKHTDxNK8lPtIh/HKAG9g5vG4nsmAMrtR6E0ujs3MQ8N/aYMNHrdz4wSz65jVMEgz2BZBk3VMXDr0pl8jErTGxhO0YpF48PObwh95xsu9HwhB2Sn9rQLkFOglqQ6BaB39Alc2pITqrF2+Jsb/epZYiJDqB56fehsSVL3/X6SYbTpI70HkwcvaXz0Xk/APXS97xdq3pkZQNqUV9EbJ3ZXlLljvTb14qICBXAS9l8ic99xB5K8KwW+vkSd+xZu+hn/CGptBaykzUbnuP1KTezOG3irjHV3AvcZoPbagiVTugKZvRdPWjRL7liR1Kof1FIKUefV+NGmw8Vqn0rOR1/aTMG3Ww0ZMqTZWHNVhu/OJMNYYDT68Z48I41Xey3yetcIeO2dJgdPoZT4UDV0SI45g6pSth0oqq7UciHngGpZ8Pab6ztznfFzhGeidhbhBcDkU+NYNh7uwx9xDWeLmkVCP1RSVa1GRsV/riZL7uN/rfSwUmk0u8P9OI+y99o6eIQC2yoN+XnTSsJVaoKVODjkn4u8d3ylU9MrhRl3ou6+DtNE8WAGGjYD6MqRmTf38q2/5kZaqZsymfXrzpIjk9hxlDi58/STpiRRTceRP2HHcmqR/1+EaMKzukcaYLRIwgt3WKeWWjDeova0CJqET4lXtkVZ8HRO7twis7czbLF2SlFnNsGhCYoQ6KexRLg2v0FlxX40DirmItHALATWqrrn1eCTtR2I0rRGE9BPjLF4Zc0g7Yw++17HdakETSBZQ1eHFDnxzY7/VcHXfaG7iKTASgU5OHAxWa8/20gmO+oErQ8NCh12aMCGczA6IqT+j5jOtH3VogexD0CqvJnTzcVDSFWWi4IHHFTO64RXB7NzRlhFxMIF2RQN4ZEuxcFs4w0vMSNNdza0z1dA5wAcQMMOXYQdVUId882c3EUjO/c+VBfcWNIV/EWIOCmJznu8CDSwNsIU4X6Jm8+XoO0wFgpBSN/6CivD2w+5Gwhn9PdhzcmLCgygUxhN1+GdQebY0lRKFCimD0hQUE4C/1dnPAji0MIL+79egSFwDfDkOmY+3pcidPoOu7AgcK4X0EG5tnWFWotCUc9suq98HkOhV+VpiRZF3V1AkgZqnham8nKlCFhxMmaP3L2gLuvFBjqpDn1cE4B2BisY42i2HrYQp7zB4OXvJVawf2J/CMXFpiPFQHLWiyMB8T++csFuF5bE7o7sM6srNCAiBLC0O6UpQzbj1EKuTEk3p1uG8Zb0rS+6WV4WGZoY7gZgXCOqDvtaBYcgJ/piITt1Vz4zvDoSyBKIVKQypZiAVSEaC/Vu4f/UUWdMKXuvSrUPwY6bArY/YAeIig8Mgh4FbrlFdiSoqKtXIqqq7DsJaZzyAXyTtsg8fPlJddpIUhzK2k7V/qjE1F0CFrPbZvRypjIbyQWdWBNEg4DFijdbx/V12016RuBb0DvwrsOx/TrK5b9bzxHKQ8eilkz4VuVJz3teWW9EeYtOh6BY7FUC7XsMm4XGghVbik1B7B4nz8jf2zcLe82T0H5WfodtqyWkfWee3fSadxn/G08d07r1yvtoQ21rp5oEaX8sg3wyqF4uqWGRcgM70nGbF13CbXBU1ESJ2cuQzCKFrODhI38F4Y0X3Hzlh93JCmbTP0vlOOw3jB3qc3USAcLLTWzfrFcQ3UJ7js22GG0yu3I0Q/7OmF93ftHnuS9ASjMTBVx4ZwoO4sjy5RUZRQwPmbYn4ol2OoTP4Ee6uen7IkEuQ5LPnqxsemhr56F007uPEzV3yQJZZrNlc0oeSgSXaObtQQZqjJtl/dTIXSddiFAZ9iInEz+1k+tFDAH5Idid4fAaz+cWD5hx3Cc1Aa0EFdksQVv8wBgV985b9noIgMordnFbp/JksygmdkV1R0Dio4fkVem7rW78IjRhWjTd28yc1/4l0oxmo4JMia0ndpJF7+3O4FyZQ0MNsseLvxiL3PqwkTRMj5zVq6X7RlH7x4sjknPa9GgY48RqC7mx6GoRipgr2aBr2tRQLkAqz6gu2PNyYWge606Sckz4QLnv9/f33VzeXNuDP2g6wIcxK7dbKvK1pLAMNKEy0RMuv6dHpyjRAYu4sJO5vT50T9lSDdZpO91rfBfP/wIrNKALM76xXf4odre66elH/Me3s075itIOjl5JcLl7mS5ZUGrJjwapfGSKWIBW1HTK7288znR5yoYotawHk5DgqFpXbQoJES658yBpeWez8Ob+QnGkCQhCva4S72SEil3nS3V6+OWRDXLcbwNPe81IvSBDOZUmynxcFs9tQv4XhE67K+/OukH5XYZumOBXB+K6wIFdgu4iwPCaOZVP6xK7Qo9EvVdHcEl99/e83A4kna/aHap3rkoGwZB0m2/Fn/dacU56hwnXgj8kJPYDkSzdGbzkq4/a9uuPYTyeA99Xpg2djcZKVKzGrZMtff/zPMB6xVbbXuycM2QYSWnrOZTmFcY8zIquhbOwO4vvy8kTTYM0cLh1d9pBfoInQv/5qygFZZ2Msj7lN7/MRZUDj6u5VbLuLxxrAYqiwo0QNxwLllfjRtrPzieLz6PXFECmLD7KT/lDXbVBZyWH85pcLsiGlLxh97kjhYDSUmaIKb4PK3+L8XYDMpM6Cjq3O81Eal4u+c9iajJIOHP3Ph9Hp4l0Mwxc733VP4q1zeLNWoBhhweZpNELobUYTF7vwXtBS4KUbiFmmm/0iLSRlmA2X9Osp1WwYMkbtpjqwY7dDH3M6hNFYj9yupxn5DJVlofg9so55NoBKAOYs22xD3OKcP4Zuk0yM1TS7uzz7GPrU+YB75GPsAZAEoT45LTp+hzOcaRbMAJcbWYtxw8yPMGcE2CSGNSY9yMDaIhfT/Wp2DGn6TthitSX1YSAfYJvh73e9oOP2YMrqle8CvR08gI47Jn5CZlp4RIzoYPTwkj2duhN5OfPB9t5R/HiK4qHDeAVPE/7vUIRhH4oS+DeiV4mIKYtPSMZxPfgJ8HqIdRHDimDeSY9ITGJKmQkAN36FCqOXUkm4p4yBx9kk9EescJJhtNwvsLCF8NFZk+iPBhJfsltjIKw+lGSkMTSpIBGWxpfaXTPRefMS9g/xBALe2T7o+T8AHdCGa6re9h3m6BTSK6mVgKk4G6qQX0lPOTt4fh9P6G66IPptOPqQOlaCZdEwZenAr1GSR+6SV40bDpntZZcCj3iowz6aC/ovBgjzGMxzJYhFrdaW4rOvfRXACSyRVzIkr+R4TDh/QjpgfsoGLicwEI7f9fieZJBU/rXsTqL1YGRR+FBb/iwbAP3YK0JtkmbZzYHOp9eN+FbuDmKtt10fGXYEGDzHd1aZX0sRaQ/V9MtVA7ZTATypC+rNIPOfaXPYGCuDF4jWb1UiF2eSmWLId7D2Ls39ZuZ5XHFOoVXh2RfzKRqws6hHKhi7pG3h9pArtl2OpcUFGlP9HDeFn4K10ep0q0WfZWBiUzM577jemgi3TRGmfuY99mZ4O+Qqhx5ibUpvcm/j0iDqeqoiO2D+VoQNVXnn9uYCd/4ki6b1VAYL02z/ONyr+tQ0vGIgkux25TRsF8x20dq+j8dB9e++1Gi2HN/bS7t0Rxqfn3ouUx+WtIzCWnjVqvnYnP+oLpJAIHYT5Iz4t0RIxwKjqneNQw27BSksARE8R9y4J30VqN4WfIOGKvykBhLTjHwuFSsxxXMHxyjH1txBsFwhdsVfQ7c5dAD209jHM4YtJBwXMCLgHGdQVEeVLXEx4G4sUVu/8f8jI7FOdbGZMiXVqlpwvqkQniQeINJTmbpbNqyxgV9fdpZDJdelTwGqATwoeXe9MIxe/985US7ySJSqArAC/g5I/s4ZyfLWaPOUhxwOp9zf+LL+GKxqD1m6+Gczy8uC1ivLntxyQTfIy3DuJv7Si3BG2S6k88dAASn3YziFmA2VnKsoXJ7ieYQaDQ9b7SsDrRSEymo/D5ZjiM/Wi/vQTEJNtzFmve01RFOYmLF1k4DAoyOQB72hIlqwSxW83BQz/ksONazcuK4OHDrM0jfo1Gp4eTeCkkp8yWhn87fBesHLkYElJwnErQ/6lUauaLS/2vjZhTZgRWNSnpwHO99Hhgoy0x6CqGmPwQOydwb5/TLtjQ+TcjPoMjTd5BzOsizS2XmGbBdHMasIhnoynRZSmolVAv4ACPS8Cn0h5ElVM8gbDv5k5n3738+JuljUkeoWl3zff8Pj3TpMpxdkdVala11KA6ydh/hslOvdwLntU5QxZ3DUGyEYN1e1EIcPybvl1L3NIVNBh35ie0Sef8bKyfUif1nKf1kFWmNIFoYCkPIDNSH5SIh2A0T5xVqOFgx17K0v1p1ajrjLuTHiGpIuppLF447/fUs1hE47bwhgnhpfFdRIOXgkXXNSff0oP1zzeoBbPQgM5zakX/EIy8ANKjRAmvMYjSJkRc5yO9V8bZbIPFzarCuwXC855vqefceUay0fR6w/8D5t3sORu672EUS5UyBxop8rV4bf9rf5gar1BGwfkqwAqiYLGHNYOBcYd0hcrMExoJQ9dMB/r7+A6pMibzCjy4d0fHPBTBOwQVokZivJpZxjWMWpHr4eF+mlKBQD2tJtzMGNMoqr4Z2jQYhGWOnZj97ulguXpHaOqlq2HYy0JJ0dOsVAlrjc90HL7xLoOkg/gTvUVyOCtzE2y46+nPP8/INS1JOkh5TR7qhM6XaWkDUyyQESYX7LPvSpTtXjF13l1GbLyqWhV5kDjKy9A7dj+CrADYht3iyGakKmMXX9GimUJBTNqYBYlRHvz51NSiJ0OvXOVFFSbiLWth7AlTGAoScHCN+hatZhbKNWJkQ084N+1zG/rIWzu5r7b5NX4JwK2HE8SIOzgetx1r5lC+eGpGH9GbpVKvlA8+2bYUBnoWUQjYkppTCS2whVOKrpr8eVCibcunMCr936cgGSprSE46spSL0jH1kLd9rXSleo9n2oyn7lvFyTbF3C7VgQ9QSqLj/aFJ71rXcqTdEHl204QdGyv8Xp+anJzC/oik/rgpXAjCbl0TA3or6Ze0UJ+xT7JW7ccCGj67cJD0rfG/NgZHT91EqVz62hQzzGDSRvC+xUZlENTIB5imzSPGpcFZDwHFpYnCPwAXSNPVXNjUWC4TUDw0Oc8thMdAmnTWqWC42euV236Hk0OJcV9EvZew52Ajx5zYFkhyu3Zm3emnzJ9MGSi9HsQ5P6hW+GBAcWC33IK4khznhnJMgcBoKTSm95ADFSsrkYeeVYPAjJChuEDoRSc3QEB7tDMS2lNmjl1H33GxQOBfiRnnnmhqJVbEzbvbq5S4YdgQZfy/ySSO4ZR2/ZbbsIJmEGRtLnuYBc4eZaU6xKa+3+9iKGTlqtbX5inUpBC/wYs9SjQkcRslXWqwQ1X2vnicwSNVhlAgP1dlwEn7YNHEU8Kbfvn0PJMo1WreVy6scif4zYjLYuc8uamaA0rzNZYE2CyzCyW7jjOGX8TpA12EB/YpDasPQfiN5dxgn5Vacaj0b4oOMqxBsITOxmO03ctNFCW9UvqJk57lHGXoqbblZbUwbMq414SFG484YJ6ElR+xJXrCY2qUghTNrPXChDvZoUqDOGV5VUZX8x4mjT5mVeYkh2jZPds3ByzzVYYD8nT3g11rsvWejwLRSDn0xJBSHj04yCcPJ/9ncLXLh6wNgp4Qg9Wx16hndz76BStfG806a3R8WujmW7O9J9G7pl2TL7wt0gEw90WyS1VeBQ+xVncRarvpl7DOImaT+v0SWpt+P41XiONykwybOFGkJvNIQ6cOjilZaKASXYaiK72E5Z5u/niWStpFNwx1idaE10GfI3wAF1vpnrNtjeVieREGU/dLo8W0uCCARclTCT8Et/I0GsrOhd2VNydElpWX7G5L/IjJ/924iJFAHfZ1lpEs8CToZTOpjn0VDObazdCaH/YXrFo3U/af6Sx+31ixi3E11DlojIyi7QpLBKSo3FiTxMvoudjT7xusOE6IRbF1Rb2Mp97NOysiRBMzaU3zfGfm14NfSg8UYyUACqqTZQulfmUVz/ZPJKaJrZ7yQmrhFatH8hDZ2Qh+yU2gqSlxsTQrDXgsnYimyp4DVJMm9mTv94JJ4yG3FoesUWzZ1gTcEz4QdFEO7t2c7dwqN7kTow9azf0YJuQyeYPVaVBo7DIkOtj2VuefI70Xp8HQ7ArXHVgjajKl38105FKLRmuf8CLOBeuwR3csVfL/ysFbrntbKwBM5DftzNmYwExQYpNtE6xFBJvXEjGhbCBQjRYAQouakL6jMI9/UVqPAD1wa1j4IY9kTEtLuNYJUvsL0SgjQGk8b4CfEHgP3/l030Ze98eyRbDqfJKMQLzR6SR9VZHbCfPCxq08cK+cHznyL4/oDaRqDBZeEWvMT21xaFdRen2cAlHoh/O520LZQnEgnsZFs3qcODzmLMlyrNPKTeunBko3SqoIZPSaa6HZDkZk1LebiL6U2LLomsqndO1vdSI4aTp4aEzgmHymy2KQDDajb6UIhT1et2ufezt9/FM2zzpFSxn/H4uswiadypp4mL3C49dyKNvTRfdNv8NH/n4fsLoqoPPAgQbXPBwLZju5EVlYJKWQsHrJrXPrYuAdEEmRgFwHtv+/afZnBXJCPAShFYcT4YPrzX0dnV7bXYttnohCj5raXmLiNQvAFWtcZS1d9fIUkUDbb6YN8yPPydYaj8+ZuaYWk9/tRZgxVuJe2q8AIyF25KoaaLKVprW7Eyc87LtmNRqV4Mk3cHg5VfPuKblvawGY31HR/RslJbIAu7jAS2gTteaCwLSMTNqr+y1R8oAfmA9qSgjxerVGsuwPpLxBPCW03YsajGFNDG8PefVg8Wf+SsOv+fX37XvIe4o3cjGveKJ7X7Oen3FgZVeX8BOOQzXxwN84qObCpBHdeK7k5hqQgtCaYE+AARKl+S7QmnEPOsHmm2PdwQ8WcfsGYmxyn7pZOKsKYz6gtvroGjzLialNs4cwTHY5O6rq/8rbYefhyKdxrkuFjwM+pwyeu0ZqPkGzBhGztwfkPhergpxBo45zQzGjSTFAz5UdkT6CuDH2HYN4HTmmho499R3zomVE3FgW7h7o3PLMF1AT8eihDf8lLLPRCMcms4uOH9B9mz7R2jnSDeby1Ad7NxTOGf0vnD/RfNrQZmYBQzk+QJBSbnxlj0OAiFzOfg1szQR9/bycaIK4c9gATwPPncoJu7d89Uux1u49X9UB0v6M69OZCSfCKUkoLZuZ2v98IWe7/vLkOPI15ov5yhhi18hCQUjHTPMMZuloIJ7U7aML4EBh5FbQ4V8XGXTBbSIe1ycBF2keKTBj8DEIgyBrpiYoj8tOGNpX3hM+vVXbwVPQcx25ZTtM/2q+CUWdfp2baUh9JChZF91CXE5nNj7OWY2ZXtMTKE2mNt3ZhEaIvKHS+NYr0iF+2z/y33wUSW/ChvEIU15WHwics2Op2xZqFgoW12mpM7eo7FtH9qRcF7VJpPePKI1pIU9TEs/kG9b82WZfMGg4OmCDoogi60kR1OJOeD4IhRl/Y0aGAAWbFFBCHXFqMKINlz+hjmEDtGu6eAuEv92mu7G8mW9ItfSc0to1rjRO0r7OG3BL9eqOylRQr3uv+QajOm7yASxD3COpL8/v3/feMVFyFBnOgLUFaX13oujooFHvgqIEPQObbqNQrrBrVdN/mH3CcWSFAI12UVh9ljs0SIgU7zhnFmeyTgGv6tAdMWneuqJg7OdV2qqozzWepxo+jWfITEvpRffMQkjwDYbo8S3vuuhdMXTbPvbvQs4irWduvSAZEH5OCf9rHJyj6NXsk8j6X7B6aFU4U2wHFH6hmuXwS41BlSOKO2yX5X2CWrN4EjKJY9o/fQ0Epjo+JGc+VbXPmAzMuDny1n2SoVGL0z+ZOV4CAdZI9EU+Ex92nqWXCbzLqfnBT7JbtQJ57qwnw7S2cLD3C+sAgbbnZs3kItN/lKqRpoCdpRlB08PMJjdFyrDUD4F+VklqAz8+ZBCFRI23ufgoJhjxz0cM6fAkSOnu2oXPDhrTFcfI7BNPvDr/N5eLWkIyBesdlDm64GS3zvO+ohydPjp2SAvd2od4zFAL228Ff1B2v3rzDr2c3BXN4W1cjD4iV3sJgODNmWRZPMKcFwjVsPGf4YDy+YCpXnt3ww4drwklZp/qi7yKVdID8WpITD81dyubTRzztiqptcpSLBxF8ObOvp4HQ589ea0q6KTMWrzHMFv2d6cKQBKSJz0u5jnoxNsmJgltr9QgC+BxtRklzw7NYxpZEjeDRIV1bWzAmrjPs0Oe5aofAnG2L4oIWfg9dT9QVoqE8QlFVkK+hKTYVy1V78oyi3KSoGtcbFXAVCzT7d27L4pkL+eBTYDmbK4SXQbCEfMunJbkz6TkhdgX/JJhPgxAIOLLWxknFfVaDDKbO1LJKvcNC6xGgh/7qwDdHsB5n4nE2ZwXd3JXjSPLHwBS4K8i9i36+SBIAtpp0WLXqPwFEv9IBoXfE1WoMzHCcaZUFTTvCGj8Qrq0tf2l7FddsgZs+UFuAtrbQsL1EkzrfOVees6MXZ06+ERXLxIHibYKvYqQBzAo1iUwbaulv3K+4mbWQwxYGC6x5QXw5EiohD0xmCHhrbcTd2d3rCiHhWKMRV9c4Ff1NjmjkLve5ofrREzfCZQ3TSeRiXQUmedBXYbMhxKp+3uGVnzdlt9N1sNB7k1TlEXjg7rTvUNsROS3iqNwu8u6NtifpWhED3/2a34Z3ltetXRvsgrnbciLZMueg//5ZdPSUp09WlEDMGbaxm9aJp0r76TFEu1VIgFcS3Sli2REE2Fgn0N1qJhDhDtXfN2qMuFSNtx7PS5TLme8PK2/aE8DWncJYFWO9Tp7X2rozBn0fcWEvauAgDhuUtX/ePFrxWOUgsG+RrY8sJwPfxDfh+Set3upV+xIxSl3yrkYmYmI2bjtKxKEnDS+EogrHff/m6Azvjd+KZm2eD27NFqcuU7aovOZkWJ8im6OiilTnjYqr96NcC6vDhJ2rWFX8dGtvolkGXTI91VkhI48/sVg8brKJfWl6ihXCIldHnaQzHPDUywff3N2Akcp7AFlTdC4aym5kpOZoCHmcT0vnOooOqI4zC9rjzZcAG0uS0Ln4WAFQLySr4UzDlIzSg26V8y9EKkpCvIrWzQx9UM9Oj6kmvmiXverNoD3OdYPCPTGC7QD0yxNKxGgN48tpVAS4GbGcEyWk=" title="Mekko Graphics Chart">
            <a:extLst>
              <a:ext uri="{FF2B5EF4-FFF2-40B4-BE49-F238E27FC236}">
                <a16:creationId xmlns:a16="http://schemas.microsoft.com/office/drawing/2014/main" id="{3DDB9358-62F7-B7D9-BDC2-E16E86B30A0F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gray">
          <a:xfrm>
            <a:off x="645226" y="1979135"/>
            <a:ext cx="3240974" cy="4853688"/>
          </a:xfrm>
          <a:prstGeom prst="rect">
            <a:avLst/>
          </a:prstGeom>
          <a:blipFill>
            <a:blip r:embed="rId16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" name="Rectangle 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lIBcj1AhOaglsfnW7bJVNy+Enu6UK0QItpF7Lu9UORcZ4SlpnUax+QPfM/lwFPHVSHxaXXiOwGJHivZNfu3EK3IuS2PnGFcrQto7aCqTO1ypfEMgTPUReVS9BsV25ikWqDqRKg+mV6HwgncixvDD8HTtGZHyEpTAPCLjjcvOgb5daQA/swa0yE+MUHferIGtuiHQHAfYrrPp5qXxQU5FNFII4RaFTwKiHE0Qq2+zWUCGFSRUkUROJiKWgayH0tLInZs2WILj/jfWKtYP80+9zfILe9ZLdE/Els+OtpYw5v3kopgWuYXLCOh/oBmxUuB3ICX1ID6JJ/RYaJr4Ahr7aDkUvjKULDY/fb6l2RRbzu74s34EkTe8quRsI4PnrCcRqUuTpsiyn/lJtfAJQXpNT6ipRVQud00jKd25ld4Tism7YUK4QmIKhOwQrMzulHuvKwFdpNnIVy3AC9EklsM+7CJqaNWJynosBVk4STy0NcYacRAp04gkNS0D1xUkK/xVyzYQDCqtBqBL/CRuLvp+WnaErL0YoYRu2IvwhCfYbEWqLw/dR9nkQdL5aLOKHiVfa5IVrtaHCNriPiJUBWeIRy3Kv22LpbdxmFcVlLq97NoKk1rfxLN+a6MIpAYMwXLvVIlDle4+3rAMRYw60CGx42F4CIPbvvV45d64IiQrc4sCvTJYLWYTwoTKQUAM2Vu3g3u1dX2hGzarkIQOxy8jN7SKqwtALY/M9Vf1IQV0AaR5vhXP0L6IHFd2xiRQcAsM7KDZwCX7DcJUrbJ+0ErQdZfDNuadZM6j2A2Dwt2Bn8yPenV0xi+M+Z+yNPolHNdBxlnFQzipRoVOGxnFOwK9VpedUKhfMFWWA7Ul1/p53iVtKfskRwr2Eo7ITGaGtMVssa7n+p4sA7JMa2WeX9XnPFvlNFOUNcYS1IARKIddjauPCZ2dEw6nrVFC3tHfBn8+iKsGVYvJVGSi8A85b3GVhh7n3u6mGyxzBIdWHn6bmBYiJk+jdhJKS7udDsyw+ckOouUTzpLVVC5V/2cCmGHFOxX16yZ3a2dJ4DAu4gMt8LMBlvW3pJClSe53ceHirsk8we7ac+JyavSUjoabvcDTbR50UQ5Mk4wrbLZFd2yINPewe3JXNnpxjjMri2oOejKqmyvQjsTmuNGxeZm5z1wTCLLAWUm79UdeGAFJDvNpNnPmrjd9w4kDsYkgOH9mxCpWf3qLx/tHNhMBdRK+yTVY36fqvMxyScQjXP/SRP+/VbzrMTtCRzX5a20YGcthocp4MdCARYbDnjAb+l8EI26Zz1x1IMnHZoTX8XlzBnlhDDTc4F4XH6ET3ydji/6xFXy/9Mi94SXUxjxSXaZUTHShWiiXtb81kla0xGplLsSW34bHd15C4V0F4Jgl/Lhpl76n80zczXZ02D6imhEac4xjMYyt8r6+Ke8ZRAZwrIUkHnjLEsC013HEfASMZuCWN6kpI2R3TJX7WQwaTHJdWCSNiw8FktPyKMQmf7EfJLqyU+9eOVkNXFAvC5Sj0mz65FlEF/C3H64Da8jvHdE91wry30aAfaE0g5OLopkEpnVVYk6LmIJACbOrv6hh5kv6cMWVdRwqxyhKyS1elNuQH3fLo6BI0K8rYh/JoqiB1DuFUpCPnhhiY+m7vtvcN8SH15+DU82suAhOxf0kCmnl7vHNMbwxqBkA6NhP7+vhEdHKHKu6AyetIRfZv5dNufOCXEGwrYQRuBOeWiod5HKTpZkxLvt9V04BlelPPDZcxwN1YU3Rhw3t9JmIUEa9Dig+tGwSTNVbBu3cXEDJ9/brAUWPJvOuTb4VG8Rp9ovwnqos8KCLOYi83A5lgWzfzTP5unQAH/lutL7efm5N1A8XtpUxSnRZpZPPcvF5Y1AjObFI/ojhX3pivaq5Nq4flgazVStHz+1STnbWA8iiCWNkgZ+NTzaeKDigF1uM7GafqIjRJOc72ecVx3NDltlfZRdXGCahNDia4/pxEOkCe5lbpivY2/wdfz64VAUHn882sT3LSdROSHUyNmLc4SVBxUX9X99fHSIvoIM7BFsnsT3UZ5FbjLF+Hxh1KgK00/OUbbRUbyG0Up8sisPdwuDFcEZFtG0D5u9uKDGv4oCZDppkFhdMe2EtwV23ZfBvmRB1yDDI+bT5eeAM71T2vHZQMTlHVLRMs2B+6wxJriecSPoq3Um0EHPs5DlG/bSWcTz2yBb95rG4GymKwtsqDqlIqqV3Lg+Nxuajo9WibDSxgboV9IiYm7U/MVFxdP6iR+hhTBFzNcEbbxZnBbuFiRiy1y4kd4j++TsYtLSy3skztzggZBDNnVV6aSpwyoJigMs9zfJPckH4s9J9Ed07hHyefNNCuwk8kFoIXxjBQgv4KVa8vYF/fi6/kVZQrtsCVVX5UzScrt96SeSx46Uc+2JWeVoI2eIARLML6HxPXkoTjT3iN6DGhKLxp/e/KSrNR8Qwko6oy3UNJoJaS8SJw3VtElz1G1zRPt+tvOncuMPy8cEw1AcdWFc0gTQueAEMpsj8bHMYZIU9gz0b8ARD9crpMB1cijVE1KXPl7ZIPqDjsVhqjIsuryssl+S/5iqYp3JJciBOpAHy0uw634stkIwim9Rl264aXavHsQ/AQiKYm8TmlPB3rLPficR6jprSE9C8HdqgS9N1PUwuGyY3T1VjsA/DXmxWudPcnnvKxu//lAI7+/Z9tpnbcejUuLnUlMBzdUSk8SWbkZ6/yk7U0NCMEESGVLdLYkOCYFwH4wUry4UZM940WzvFHbrN+oHl3mBKOl/xBLahHnVAobkuLPVqlDw1ZMUWIDQJuZcFOjY8bpzcqFR2v2e8Cu8J9mfpC3o019F5WNCNMiqdJWpAuXCZvnMQdSKrRC6gsbOujq6YE60d95Xf7AQ2s81HX0fnYtiKx3YK8Xkn5VGbfve8mLkem20M3y2YAPA/B2x5Q07Bz/zg5zX5POwJI+GdxSM4ehv8wIcePFLZSM6lxhkfgVjwDXsQHRZzZVBCpK3uct84/7RT5NASTBQUkNZ/KSZoC9gIiJ1Zdy6vElK0q0MTP/GHXlI49yAEQxtEtnS4/+ugsYUSMd9issDOTeawVvFmskgz/7iL9dErpL+36mHDwJ8yBqHLuTuBRFRkSGlCfdnDvV2Wpfde+TzpnprphQ+lDgcW570LvtamOnvhBce3n/lMoLstuFF+uUAXi7lwIndNFKB62/1WEqQ0z6i/WrDKOfhnKVPdlQpTyfR2nbmNmhjek2/8lh/0uFpxNtQ+fubYLnsvQny29NR4Rx5iN72l1IpBNFk8lDPGREOwdDH/IQOulmff76uTzOFTtb8y3fl3k9ej16axKLtQSi9aiJadP1z0wvcw77KdGzDZRNRnAaksCGpHOGhhc1x9ZPERYFZiQZswUAVR542uM920j1f7IP3QROmAcwA2EM05RGf/NHAkyqznpjoQd7MRWbJNdIxpcwh5yErEE48SGM/ocW4Cp6DLEFZtqwhtBd89aw4h7E13AMnMCkGaGjG1OPtk5B6A6VDBXXPshmMaPn0rojbknAdYhWENnDwQe8iRqkxYdw9EVTTXrI27TvgTqCeU21T2HnXiwQ+5yUjl/J2Bzvm0u8cl1fsGhNYE/UT3eRtQFnS6NO93gFg0PA8icW74Xvqupc/QcT7ihQyzyo9RC0eIXd8JV7HWPu0RdAxbzOcn8WKJajpOEhNAGHyJT7bP8/2PQmmKmO6vt28o1MMlYWfw3Mm16tkRNpEharTWr31QEjVX+ja4Ryvbisu/G2GYNd1mPFOH3ehO1Gu0RzT4w3qeER9Jg9XrwxARq3Cg6/21mPBMmCwQDej27mqkhXgBWZPKEegOGlQSQOj3QRg2fQvUiWNijdaxWId5xU9RanOXHl4VdgXah/9+r9Xb8CqpLyfLaUPKBSFtfqINKWFr9Mbw2LOlLOPBC8SBnmTMkzUlplbzB7AJSaSIhRm32E1xrLo/epMenW4LN28+Q8H9dsI+DL/eZJCF+p9roLDTwDjOIiP2/Cl92ugDPQ+I55ZdzK95sn6Mh3+b/vOY7oQYk2trmve7bYJg8gq88MVEc+TyEScP2DdKQfmWob0JAzdZ5Gr1ERUS2K6oXPFrvNyakmfx2TXd0WMqFh1KMS2isXTZUnSdFf+9P1t2TgHP6Qg0fKX/C0T/tvwDEFZMgrnR48hQc9t3RXoR+33oHXjt2x0Hx7AUKTgUzvNH2Zdv9VYv0kb07I5r14a2u02rqlqGs65fqGKyIzxYfxAvtYvV8QKAYQdhkojv0EqbjfoFsEYRRatKUZIsihB/P2O/TBU0AYb+NPNdrbo61Bgwrq+9el2fE9c942msC3lhyflsJgEecXX+28tgjnvNiRzDLjlfyPPYMah/Ovqad4czwgK64/RyZxtqjaZha7VPWWPbb3v7sRgRmVY+rT+m23hF4EPg09rclWsUiVsMFU27pm1FMVnU9cwcpBYZn3abbdov/NaCla7PpQLxNEIizBwd6hxjKCEcOO7MkNJj4HHCq9lgx3gV6wY0NCk7TrRHY0BxwzBbNG3kP7dWtSP63ch1irviForI2iN4H2ryk3t78OnXw/CPzD5+yHfhy3MHALlkALWMUkLb29n69iX8qEX0Vq+6zvZUEDXpdDzYv0mA5tin3dYojgZMkG4udUksPsikI43mKtvoq/H250xleDYffiL51ZauJuKOLCJwQJequ/Hk2YoqCQdZrJCpT5YT7ti/ljUEsYMN+NWl7S6Zbd7CyD4jsmhvCXtdMn17VymmwjJjrg35Hby7WOpFWgpzU+KLHA5CVFuFbnaLomruSHK9mNjd0Jw67MewYm1eODRllAsqBMoylIg5ysaYAYmllWf9M56mpzfyVYMH4aokXu+zB85h23IvSG82SacQlU/8QdufTgm+dWo6crADYsb1nrL/e5SGZK1eZaZb/iiAGX9DZegcrm4i+cLkZi8WWi9YTVJQXnXWmhQe/nMXK1emqCRIZ+t5DeZurZKmiPYYt7tfS6XIoYGcFizDrmjK7m+uPVlEjlWTtAGfRd6MI/Hf/xDbVhQW2w0/PRN1hdBuIl+C2OUAdlbYEPudIGVZj4DftX/oNONqAU6ikzO3jk0aVV4RGnz1aWIrQliEwedEl4dxICEOkgf5W3vZCD2wKkCpE0rKEef4b5z1KBvMMaTrUMbdjfusc2NnmNUNC745l2FO8dpzD0ukFKWityhrGhxZrMODAXyiTON2ZRHu4OlSv8t2C0M8RhBpRbT8gE2B/K2FWBszRObqc73BS6bbmShoH9JWBXjgWtx71Rm5SQk3Dsjk9tOl1L5JoMr6zPCLREoHiLHesGcrDBtlktcvdplvU9KH62oE9bHcxm5uZ0WNz0OUZEp8DYFOJD5uJXfD+EEKrsCEysmD7Vw2xzEvROBf/maitxVxuDNe8j3v4HOg4M5Xh75Ws302S/qKEOLbkbWQFukWv5H+h074JRYNxunMY4/KPeOoIECJn1Bh1ueVbFo2WUMTK0+qP6FeDNi+KsSCrbQhk4+fUC+U0e2mRmHPgouSVf+XOzC8i8BZkLRaeqkyon8FwN3TWA3ZybTVURmHYQqF/jLwTFOD21JrabVN4ANzsTG0GXSpzBzFMJsyriuazftEwuOE2j2dlJAHNPk1Q6xDV6R5Qdb3WDHIXhH0bt/JQGINa8csXrvTir5aE0sxe86/Pwzk0HpqcojqRCVyoke01Z5BTrFblvV3jZrx61nmx8jAB3k5BYrgkCtJvXrBbkuYQJP2wmqOXmgUVYbqniCuUnsLfDf6R4j9KjJBLdVNH5LxSf2/skz9WkY44O/OfApNWIvHa3dsVKlZo9mVuxJqNEsLCcYeILOTPt0M2bhZl0qloWsX8Pu8rKGkpdBNwFn2aP6buCE4qYvUtZtgeLJ7tDC9cHhZSH8pnNQVkVv+UljcMag3o0d6JKOG2QknkQ3I2OiQFihO+sxnSTxUCRODPa7vZOmj0R+2usTaLRuSKuZRO+Yg2z+aFRJsqGA4qG1lSG4nLn9jNchAT3CzwZa7izGmBVbVZbYOgs2KTM6e39H4jOc5T/sPAhStj8uHPeinxo7GXsedvmQ8MqhuhprMTE4s95kDgyA0xW4LRCjm7YraffST8+0u0/UzZqeb/VV0cDPW9EO00VskZ9Z0SmwvD9WW3sCF80+0dMfgDYoib7+xe1gMvhPdkXDU7RyTU4kPpZNKKTYS1GQvytMwvNW3IhKfzMcoDN8PxdY7Ha4Kp+90VH6tmppfr4fYAnYLgUGnG7XV0PIDJI09mXCSGTO18tFr4LZO+N3z5901whnU0QSUbMUj5bxKxlGg1p+y7ylvL55QcM4MANUJhF9o7vpX+jOdcfAP5VXxSA4X8nuCO9P8unDHXmxo1fRTAH73relqTnuaBvYFPWjEmPa12W+tYA/tIMq2w44RUuBiOTZj2khVrDErGz2Lei9k9748v9Ijk0r4u8JTkOlI4+Lc3ea5J6zDNgIL9ukgDFgEPJzCaWa061NXqplISAgmS996mezXsTCOGIL12+EfChfA6oH8Wx0OkMjbU+nFrO9IB77n2vTvelyhLNfka9Q4zTZvJx/4EaEalaFrhf29H+TaiCPRO9NTNgtyX9EuzugmLE13UPtq8YEtCOKHcff447ExMvBr4b2xnM2d88x+Iy5q9e7VdqLvC7XZ3LtqAv2G0vKlYbM+73UvhzyzzSxm7QZQMuONPRCWl0UEZ2rPXGeOpByiD9i0GHuycUIw/GsLdAqpncHi5EC/x+3Af9TfLrxtnzHXS98i4CjNPqE06t1yeC/i6v2StN4Km/m6iIQ3m2lfNd5Pjd3RkKSW43iFrdwfLl0xvG/8Icwlbql14UsztyxQX3PaG0V8ssQC1IDvm2dvh9+FXijOwr6wQOWRxSotofWlqc+Bnz+p0PWBhzZ+BvNSX834boD00e/Rkez30Mmk/J2Jt6ksPZ2g/FstuDcrphB3etJWAOPUcqMW51kJiaxGxSvRkLdM58BMeDtUbDQqNHS90K7pJoJ4VCOvXLDhIRukhlICoN9kNNseEWuuFew1xEhUNynm/hVtuyIHPLAPF/oVAQozy4F8v0i071qBGRU4uqQ1zGzADM+Cq99nCWZP5HnDSwXjx7Zth74xnXAsnqPLeQUochXmv4ke3ShNKCWJtYnqq5PK+hSCsJrKyTyweiZD0VkKPmYQ2/yRYPq3UEXBoUJtkgXrxvbgkUQ1IpBEtAmlOeTlJixeURW6tvs1TpyxGGeJzEmGV7NC0MOJmknYDFwKMpItTwuw+zyCMLWxmIkaIbA7eGFpNoRdkFU/Un6SE4jlEC8CqvKFnYij3BK/j3rksFFXRfKG5kAll+eUpC3RxuQOyz8iCpgjGm1Lepk7obn5T/qgSNsOhYVb9VJ8Cis+ohSsZXxETxyRWXQdE90tySXEDTwFAHRgvEdTp9Q3G39tW0t+u40347yH4K4mtrWJs7mKarHZV1ba7bzoBBRQ+C3b/EMkrHoMSLwUiVWWyQ3yt3ZSniWRTlbUplcJTgsFEi2QMn/UG+RI4WoOokMxooNPLoTbyKsgSW76ws7BrY0ooKOupWBvNVjTPBp2ik/aMdoDrr95xkPMVL7TPsO+j+tGmZcwq1JucbecMHG2tJ+VckcHLQrCynILITNouD/GCA/O1MKL2GwG0WXbUUcaMMU1GZh+56CUmeriNI4sVBAtdrHcybKJYzUhmLdBmXXol3JunTHYjEa4Rt6UwZxcjWG49LsFnmE1BJ9IybjE+1RDKsRljtjpDhjyzF0+svTx6iAhQxbeof3gJo/95+GfcP5wvBpFqF/t2aHQvmAgW2u7Sr1H2qUVlqbbi3ma98yQM3HkXtR5tQnIr1T3thKyE9uQUcEqdvN69OKn//WhEXgiVC4h6JNSd/KbbI9dmQ+xyd/fon7wq1H0YM3QfZsgnrgZXnwxohoR8CFCi60yknQJGekehIANrEVUnHgSUnrBLmOaESJNqqUqoXIcvrolKIq8mB6KC522SyGIa7JPrVsgYFdyY7QalwYKs2gQsPgVixXmjrkgXKmiq6aHsABmC43cQGvrVfnFkY+P4Tmr3CKF0HKeWjhCRZY9dyT/k3y5pM9LXdaHmSFJjUiJfeLRpOdJI9wH/+gqEeIIUshq8d/TH4jmTVgGSRPgd3ntX5YrOFmBymBSHoScf9tm/bkc0Pc69DlytwvBNW91ZJrNHd0Y+N8gdmD7AWPld+ZCPSdKIPqmk82Kz8B6A7a2lXCVyfyAmGWqyukHoyvonIJFZtBT1B8gawdlUCoHGDQCCv9QvZr/ri+NMfTl6Zteky317oJEjNyj8fMToTfyRC8tAe6ZdCJFgBMBAFV7xn5+KNAUSMKEmxbA2eQthqEE0/fqv8P6qUBrCGFhW/UVzJyIkcJerVmcSwBPGFxBntqwpUpPZGRhQw2YGVwh4OOxhppRfxtQFKYcWgwSeMs6XGEjjYIZepmq6REi9PmGCFMGF4ZeWs43AbqlodXLXxHnWGvVaRa/Wx4FebI0ecHwJi2zK8ShOQTGlp4gyGoDUKd4tYwjyBH0WzKAjEUBAJXOaZxDo7r1w5RsuHoc+ajrcxdg3FY/pTFAaYrUKXWrKOVFNKa6gZeHDyR5Nvts3N5CoO3zYqL4lVwhNPKW1TyIyd5ezPAOxKsL00+v0PzmB9TwVhSPBYv5S+2CM5s/QFxkIlFAjYeolqby+0CYO5SXiGQffXs1Zeh6lpTnYhopDxpaDdnWyN29dPGABDp7X9Qou5NXm7dNQrwZcp3Bbf7EduHQGX+uwosigTY1YtqWKTzEvPJpzT104DrIigWHw65EyoCJbOKovOtVedI0UdiXSLpDTqDNvc3MO8dnKnd/VOQ6cdwwMgcfbb+q9Q63Ox0gWsyQx5vQFInwxe+IUu0jesKDygcVc0YGpPOWi7mo1zBjdCxOS/+m0hC0z0aEuN4aJS+EaRUQaKq4xqV3Th7AcQuhuUfrxoNpsDbAI6VVS4vpbaM6Na8AXbp93CF88/uy0cV6JU5LGfSs0e151vk1GFlY5ModvF1NcRv+Xe9wlSdHd5t1ri/Dcw291Q1ojiBZKhlunmkbxm29uL2wcjCEVDrTZ+3rQdeYiJ3J4h99Pig+zhpk/YcLs657GARVPTJGp2ZreCG9ZZ79meNC1AtNsZmb3SJtqNuA4kPDgZT4Ud0qbfh2TVHVpn8m4LMyep9Zwgv6sygoWTt2jjLywv3iVxehf/Drc/wPUC6PAb2KAS+SMNMsSAbkD+trZfUlP+xoodWjpqCGq0RjMl0aQ3gRQoB/3r91Ioi+gChrOl9ei3+x8JkLW9T1TQ22za72aco7KbRc5CNEcAyOcx4FQ2ecUGeqdC+slmJyJqdq4EtZQZgF46b10h9wYZoc+pD+CErr1KSYrsE2SQq7aJK93Gnfl/nF+0ZqpUu3f0/cGaaeflR2XAnUJpRdkhzm00FKYYshBgoPtF4TA99cW1ux8TqVPUJ3QY0y8MUShHyZFmN7S4GO8TyoWN3GDo8n5myr5RPnO6UMS06j3W6ktwWNG4vixe6y0dfR3q6EWT0E1HzsZBHw3GAFSl7OTkg8PiaustxNEn83JiT3nwyXH8OOEIPgmKMYJGfBkyz7bYblB2DaKXFGva1CTUKIbiDl/7WqWNimdePd01eVdgirqJy3doXRxOSTsZ6QdsRPKCdO+2GKrb2mzFm2EB+LY40KG3nkM+qV/IIJ1Sm2BgxAwjSYrlPJfalLLK6gKLVCZYPLlfV16APg/swwwZQD0qUdIawAx/SB0/VV81l3v/Nf1FC29MkvkT/yv9RgmM+RXbOT9gB7dUc8K1JHBSMAO6xy3+5mtSg1itDZ9lKm+ORGbzbpk5gn6DMq0mq3o1KKjRIbmp4Iy7w8p8YnOnEi4xgKPGI6ewhJp5ZM8vhyfGLiLzN/eSV+6w6cjWxLRASW1uYuJPV3WgUdZkT8/NZ+YImnnGglH2Au/7XtmepA7uOFCP9POqGOf3cZWbaYxrzIvV6VQggsi8UhZrE4uBcu43siJTQTFB7Jr0iOVGJ4z33XWgvvCX2byxeiy9ZCPM+lxYl6ZLDGvJVhVfAzJERWx0F+v1aBh0HNe3QrTfgnlfET1RcvrvEBcf2rXhkf7b/JwFFiF2LnG00s51YSxAaNf0ijrMHS0uh6nV96gA1o/B0GIDosOaIHv/2MGBnOeu6tcl8mid46vzMUy2GR37G20SmB2RUSjnZA84LpwilCzTaVNLhOuX5yR/Y4U6JkOytF/BfGqNesceN7K1rHB71bSUraAnWsPs3vDK2qC+kRP/8jSnqL5YmS2n0UJ0x6hffzaSjoMy+hqaSLZqYXztDxaCogCQvRQ9VmPt/s0mhM3kPhA/7P+ErLrM5WfVNa1TlYBLg7/wPEh1TLjUH7Nxcdb9rPA/RX5mkUCNBDOdDNfHdp7eVOWKTaQcbFKYRsW8z0ex7xDVpaDIOKW7+wOFlgjkfooZIXoh7r0bNvwcPWumWR+aXcQycTwNUWFz+IgCjxuPHloFC26/EI22xSDXqkUrQYbg19fW19DTmQChgRuHDVV4VEwU8s37dVkCXvSCMFJqQAqr541wr9VXZZlNQrUR38cqyp7eoTAhakWFPLvooK8fWlaM8lzO/IxwROG+VNlrsEJE2gacoHDmlBfaNp9T3ETTEFpxqHPddBj96IlEZcPyXQjhHN7a6+Wz1pHYujfFEpLoyCvtcr1ZnKgeR8wiKv2J20MLFCQ0KyNHRPGQv1EGl+STJXowrlp1++d/pWKPF/LFM4y7ywDdTE/74KIUGIm4769p5BZLUqOSMthZlxJCnR7x+z3+EVIw3e+DPm+0qnKCspR9URBDwjqttf7VMNRztuR/SqS4uW5Ls97uUC4xlVgAgxlcIZJk7n5ubLrx6JO6ZKL+1aKVRlS2Q4TbxA7J1q/KZtMdf/mXgOUQQR7iLitJw972Kf/v07r6qeYKfVn3FTnQTNYEAvn2YXbJIjZs5NCMO/PSyUl2A27NmgVxtYrlS44YsA5K9Neu3OQ1wCpNEkzIB7iD318/j7n26/XsGFHwAHKjuqEA4pYnQAWEJ2qxhhQKlmOGJsxRihiehPVqPecV8Z6P47saGuQNi4K1RcCqFI6cYkne1o5il5OKsL3YNHpRfIVG13TzDqC45KyuZYshuGZgrDctb1gbYsl879G9yGQBawR5/rGSMer3qAlrBsmreuwpqnV5ZG/d3lkHa6SPS/DuKl1Qqgdm23QpuDrM+BF2+terSTLJ8qPyhPT/eeEixLFXGBeQ5o0QaFobU0dPdZ9bVXVOOMx+S2eJOB64oHNq9TYhcY2nwv8aAf98j6VJ4JfWJ2lAlmvQKEtfT5EWiAaAPJHFkYrhSMZLCraLeGW0zCGfQjH17ydcTSd9waLZ972cXwqmKpDtzKMFbiiNgFAauFW8jkyvlJff3FU0/KE8Cumih+zrIKGYTYvEZA1rubfHvFVf8mL015EWYdNiYt6gd/HEpC1T5gamOmPW2m46pelIwgzVlVURiNZlEHjVvdB8nggSyB6xZiDK3vrEZpMcbCttrSIpYQNMM6+Ofesp41MfaPIw74WNpm9cnrJn7srX7ux9YryOrr6Kut+I0FyW4VRKEYb3Bu6A2HNFEDnrNqdh6ySwucIevAc/Hr0gh5CZwRWYSs/9uypfiuF1VyEvO/qSNByEEQ+DwkD7njwWjLgp0Y3i9ZTk+1OYP1TCRKkeeTlRiV/UO/NCS7k9ALAX/RuSfY3KuguT+Pt9wCr17AXC0cn/tH7N9WCdjmchTBFMWcoDYmtE06QhrFLa6OXjPqcZhmZpjkF7kz90krCkxaAe9G0LXyqQdPIyYDnQGuht3+t0o6cw6bqv3XCbEO2J5jTBgEDjnEFjJqfneem0wENLfjI+mvYjrcJN19uFGKRHj8BhwxNdWjAWaSNomgElvmiEOAD73mmTxwQbe2I04pZG6jVs/+Nja5C7aSH4vEDTFQzK0ZGcdn4yC6+ZhbOXmc1hOwGM49Gcd4eJVVr+PrnLG0pO638LkCTuVI4KznaCAdEbC0oC9mrw8RILF0RtHsG2NK4KaQYH5qRkvcWq7PJ0WYnY8DUTdd28RgohGOgLKcYo2OF3lIzoh6rI0Dl7c+mDzMMd4cfoWQNfOT1+jZSBJgCA2i1jTgojqppKswc0HlOFfnThbFAubE0h3uUIY5xvA6411o3U5ei45mDVQScSAAK9+s/xRmyskdJLgmyW3AzCHsnxhDNl3P4X51mOrTEXCAvpJpQkZX1RZNZ/0WqyLxXHUf2OxCMJj5GcCiM0tu1f4msrl+i/NPLZpxtCEoCQ82OWFRaRFSX/4gpgg/vtXbrxQJQmGAWSbkemyETCaATjOlsRO6GNZNbXUTutaGS1BA0BFiDH7h1iajKPumyUYZ3kl3Pzqqke8cvvJ7r/rZsxu1glFcLx10LAPgrFPV0a/3iBVZTdWTXrs2727idvawAiWblPdMaI7duyaSmOMWUAturfYRAABLI2OxfKYd1eU33X25J19cD6YDV3fJIDUfKhg7d/jYHPPLnoC5ZXEBaUkQBSCYoAmFXun0n5Lh6J+lEsHBz1l+MSosTtqqL6owyDKBllU+Ji8sJcrnpyqHn32Wp/hpYWnC0pqNY+3/vcM5DEmB05wxDNB43PmfHA5c4HottFBYnfHBrnFsFNM1IHHHYjrZtoI3rAo/GrSJA4hbrsa6t8vJU+ZrABVxUAzI2ZKIkCeiM2jdzUW1CvTAJhAWmLXxxGqZI+B6W0bfojWQPUB3DsDMa0MNMrekW4u0dJiOgiHYwFp/52RpfG+394+j2Y4G+gF/g/2g5w5WUeHLIEKtUl94dCWRHSyVC9BelfF3AjWJASOOyxXerikSNnPj3cQUKHf9ELRpN8lieawBTyVt62KHLiLEMI4hKUTGRwmrS9RFx5eZTkQEzB//KdKnEOYLjddHcejVOMS2twTIdkztSKyQg3UTJxV6zF4gqSFxCSyF02mAT79PuafYMrs1Z5TsgAd8TDy966ApC7gSrWiXjtEk1CtYNz2dmhqg6Qlcsn9c8ug1AiyQhT+5ViJTgDEZfPbNCO2wloB9t+T8fUBFlxk4W1oX2wFDwGMSO0qm1rObtUWPa+i4ByzTaibxIP9klU5Y23hvJhB+w+ll/1A8iR8ZqykymZSM4/OXzrbscovkK5x0G1xMYL5CI7GH3u9fbb3r6zeQ3uYFiprtKPmwkAMbEgrkE7l2KBDcVbnH3Myeagjcsjcty44+wt0P5AXyHn0PgKdSqUrPdgaSYgKAg7+kg5QsCFK9RQRVdh6QArPY2dt6H/922SGq2p6Xu/VKfYC8IC3he8UHeHu746DM+YAYy+7Akweffe84+K+4ZK7Afl3qEYrLIlGuJ+xKNLDEK6XCa4Mq30dqG0PEjBbLL+pT/IW7NqLTtlqtTp8lVUNixa2A/1B12BiDpidebW+L9XM52GAU1jzx2eLdR2+QybxwH0d2tWtQsyrze4+t7g2q4o4lzDeVrUok/L0uRXWE+G2EZjP4YYHPP7H3KHz/nnAb2gWDWsiRlDtAQVohsPsFxv+TYTlpg5v5Ca9R8cCV/KdUlJL4WKp44Ftf2EBlvSh4H0Oddca8zL7d5f9uqGWKRz4uTBIX3br/Cq++Xo6nKprFBtbMFkJABn/g4V+PbsBDvQFgzed9fCygy4ZsC0nutN6eviXHKqHBR75Gs25pY0/C2x1APZZAT+WYIzAn62m2r6f0L57OzJqOdSd6WGDP+s+h4Qfp9tzjwUpeYU6FZFKd8hm0fp4gcH9MYqJswZZWNGhEQoYM7hw1bTF8e/tTpprIddYMOGXLmz0gklZoMZuisrK/O1pqgNa+//CFc8kegFw4WxvXtGK8lMxA3L1U9PR7jOjutZ33CyoU155eN8CThDlyCHxVPcNP++cG4jj66Bor772QWHmhHYqZIxt2rvFKKJzIi4Z2uS+tdE5LDNK/j9zkMYt9qNAPSgGgeVfBwhRpDX8CUy6xNvOnlsEeLK9UH8uXqjS1mNvUnD2ToI7WvOvSEHsY78AfFvJ0AT/QOFWxVnrLB9JFgk71dkduKyBylcP1EdHtgBSDYu1JETcNpzlmeiBYNoRR3QL1x0fOVbdgofoyQfx/MMrvG/aSOGCWEapxyBAuWmxf3GWeIj89lyOVKRGZ1Gcd01nO6YPgCjuEnYQxwSaBEotZDu/Y4IeO96ObVxWm8hHbjXEbXaVrBhr6yfqui1i1X/XFVjErgcxEUmeWUlh1gWcL8Pn6gQ5dy/jShGfnu3l7vlwgT/kSAWOfe/r9R2Ollz1NmFwA/+m5OtvIv447UIb6KrMsUPxH7U60CSK/5sjRWo5+HBqdA2xOiQ2vVIUSOOEP6Vxl71IDnqP48H81ZjzC+cXq+DSEa/zvHJl0wRsJUTXdBiDuevHX4ZtSk9r4dhP3s9v7oqQBLNwLJm/4sYVYOCJsYK4dKMgcwt91zI1TEiOnT/4Tz9cyxFxWtWXGBGQ7/Bpoyh0/UXrLfwdllLu/7ehvJKLPhKiapIOxkk8cJhw4a9jwzSyAw/uPn4QLdBdxSjpTwI0Ra/sSi3zm0LhllK60GsIcKNXT2sJQ/F/FCx2gRJ1UzOf9xjOT92jcwVINpJ6cc9Z3mWGCuwZw/LS89iMCivfe+3+Vg0hB6ohommmuZ7UWONi8xff4VZfw8chFFtbiFjHVFE/evGcAExQCHTjoFHRs0kb7Q0U70qdNO3VuRZysauko8LXyYfoxIbfRKQTlUtK6p23gpbaGpwhYs2f0AQxYmg3r7qGTDPoE2gadAwqgXY0CzIS2CaA9fZ+Al+uCGyzWoX0o8BL/N15C3QqTISx85Fz0z/2ebmDmJZoIP/6j1HeWj9G1aB9BzVfmBBq/EUOkiASASyW89AWRQ3BjDddh9cNEp22wcbYmJuNb5NAIIGf/d1Ho3AcGOXpuGXZQ/3cAYxfWqUvtbxQGDJJ/BFbBMDULtg1LO1LGAn/vfwa0yVN2myKjTTqi0U0bf7iAbCS4I3LXADmLq2SIlK3flL9RMAJ62YE5qsLXbkgA3r/Lb7KZ8wHLzISi2AehJQcdThvNIMbN31OljqAXlREJW/BdMWo/2xitG3FtbIqoB6a5rBYEEM7P3cRQgItC9xyxADqWVqA3CHRtnt7f3ANlow34sgla46p0tmqY2k/9Hn9UWAS1nfVDoDYmC+V28gthvr1HngpSAac6KpF9S1zZpLDh+5JouQ1h+rIhtrkvgefJQogCOlZignzE0M9QOFviy4NWegfCrkO3AqI+z+/xRVdvzR0sekXA5APkf57KqTJ+PWoxKTGHnikzUGhw3ar9lIX4zfeguJxQZqNQs+6bttqxpqM8ROn1r6tafNu28Yszi7BtXbUQAamxK8FnVJxeIp+v2B4q41o+CJ+bDOPOLsjssuj+MyrJ7KaQgNA0m4OQSP5Yad/IvS3ca8AeWXdZq6a2TAepJbZe+MiY4dW4q92NsgLoduInnrmk1kgFmonKLiJLiRn1Vf8WFsdgfGuZ1rLs9jI5XVj9nRSOGXjPlKl5osMfgoqDDRvcqc22oMeFf57GiEeZjd7uxiv3HiFRCPlkDMVaPtMb4N+8JhjkE+CITG4/KiYfvdgViX517xQWa8MZaNcW6ShMXBwQfZ2OFh3Yiiqh3cRYR2CHEhKnP47zriyCmM3SwgJIINpJR78sX8usE/+sGSGvYpoXB0VIjL5MK2TuIasaxkZ9RkX6KAgZLnfkG2wjdm8JLpWCeuWo8Hz3Y0iEptMqdPjbKUfZjStX4XsKUcvOVaggjFLONmOvgRsVaoy4xfE9r9zJJVdGYiL1m64mdp8ydmp7MhOL54Y12UC20tqvc5uzy5Vlr3ad09XlLxayzQj62eHhh4h0FboDR9EVJReg1kqVjlK8Vw/tJ8LVF3MJLX1IPXEr67fv8PCaVEATn17ogZ2aFFEp4PHFklVoGEoniLI/Azj2H/q4/tZsvUYmuDF2Jqsj/U50ncsfYUa6nkn/XRWwUqG7saw70NuJJndRzIyPhgUZsKT2ro03J26V/XX8W8SB7VOjIohI+Z2te9rzT1hBZ1d4knBiLB+K8YCfbq8K/uZ5AY12UHK6CgxAqnbxwKhZq1QSpEYS5zclKdVhJvC3uwLz7ObdZo4OpVyA4p9lELxRswqEnzfSOb4vPYLlxK5NoPLwTu+CGVspqDx491Sq7t7wfBlDzFQG6GN6SVpo6TE5d1bWP4tG93XE37ieCq7edd2yifQc4C+e1B7eRsoQX/L0sU+wxQcyVyqyy56cYUXNtLo3Y8D1Srxw21+vKa2ZWGqGlSTFYVIMq0MsQZgCgQWcbDyEtOh8+VxaJgOq8xXBU1OAT3CXqUqP5HGw76gkBsH80yrdkXBnaGYiDj7zn/wxnV1San5+MUDTO+ehl3Uqksg/V+NH0kTyN8GakBY+xgwf8N/uhSotX8VrPI7bQ1A7X8lVuafo6TREdiv7oxiSKaY7ss/uqJnQM1vykI2LdTVoQrY0Hp1FPpFFmfBAr9FFpjIS/UE2XUubWQDW5PxvgHVbffA3FjrBE7V1NNX5riROFBQpjv2YfnmcM5KYvXl+GKwuO/V984+Zxd6pzECbfK5a0ASlLP0EdQddVCH21tuqgdSWFnfXcXFO4zsjx7E27zANYMSouLnki5jIH04LK1zQ2Dp6r6ETXn66PULUHSxLgjuyjipwPiMFmXwc6mZl3QRQT9MB2sfN8Mz1pbjcV2CqNRwOMLxxTdHCGaDwF+SEtu6PNoWtLgPfxZJcUZe8YxTLdbA/iJrSIBG5PsElVC0q7XzzkI+QPgfbKclVYpzghkAu504rgRO2e8xVyTRT4XWXRnW5EZa+SjD2yI/ODrs7K+v6b3A8OpuQHR0hmahDvWt31vAN8I6fKWmncQ6ERg/k4WMfhhEsmiZoFeZqwZUh5Ob7+SIt4lFZtZ9d/cu1ZvZxDTiXImZa7YPlvCjJ1TO5eT+HDpQFGdl2aCCa7QpuvSDJmkI1efabifD2tEwDkYNiwLHttHc0dpCr8lScUsTSM7rAX5FxBzSBxoOzo5NZ1WJGL9e/YkBHGvFUTJ1sv/ZCerlc2v3FLA1x613lV157qCBulCVq61Pw9OyB3Ps7f+TVMnvEHNDq1aqXi2xJzVc1jBYXraqE9hD8nMCEh2BPhd0p5yqCvvxgn8fw/nSI3uIhF8NdVxR+SRzv8wiKibK+jD4hlDcKFkiuewVeEKwojX+1Ln185+SYlVmpI4eFAzEcztKzFmK50qJzv8WjLPyk67SmzODdpBC4CpUDiIDhKSpj/ABvoxfDiNF3cmTEB6nMpyn/3LYYk5I4n/Tra9Ux6sO5AEep0brgVHb4r+omb+qKyDagMHzh897ImUJ1Mbc7CHLEpDgaWABy+yBDlFslsN+rqC0fNOcDhmn3fqtgQ2+AfUn8vKTkJipGL2Fs1xpvaFSmsOcc5VRgTxmkNUi1il4k/2jJoWcXTGiTUT1Tv66wdKmVDvD3icYWoEH3zSDay6AWoBfhEGNmGiwh1EspUVopdWQEBex5OqcEKV1h/EvqwOCpCl5sZCqRAoKxZKzOR7awahdUdX5IaKMPTnX8dIYZF8wZ7VKDGE88WXZrjUdhTtE0IH8a6K4OSKXB5mQXfbC8ncZn3kRVkZCO+ugBi53JCRl8CnMyBEEbBeXDSiRfsT1akjld8IqppLStxgHWyY+u+VG+Cga0dOl0SPa5UqY8IDfsUH6s+UY7/EooXlhnCxL3vnYicIa9wn5I0W/Lqq+uXHsvmqAhtAZ3AE35s2dLrPVWM5r6d5Eoaar4lGeweUBSkmzpU3FcQCrMuCdFu57W3k4gOojyZe66CKPaSqBDHsrFkCY8bioukAY8KQawKmSJzupOsSiDsNCEkDKu0JuelYikPKPJTC6sHPrBGLOq1cRVc+0mQlS0Js7+ukcw2zFaiZUXZDYoxzA132nUgGyc7SCGOCi+6ZRwvjEdHpeA5Qkwh6wwTq/wVXpINmDXz/xR3UYXkhqRJ4onuyQ8W8VCmuLGub6hjwZQ8j0IqGFAMGfZcz190QF4xM/yG6r7pHcGEljr2SIA3eCbPXOfSMpoeN9G9ttyK1irUYSKuKCAdEPLQMpib3Hy9qPv6JAbcwcFFFnaMONu4nxxeN+RZeuySpGruc+1LsA9ML4g32d2IxSnxMHasaBpD/kxnIrUClaEghel54pyjHucWWkEZQih+DJyOKy4401iGINta2p9zp8q1enGfK9WuVCSvMhumPHfm375gZws6uEBRQHpI0+yszLbJ3KOF2KEqxeW2XRbvMPtXqFvbk6f8R3ZZf0lIqSQ9CIKbEpclCYhWSC4LzTWduNpTRYcw2c1BgCzrtFPqOgbaid9z71f0lBKkjNvHIDFeCi65HpBu/scqIHNEveyGaxMufP4KyfvI98KOYsVU2lxwi+/AEI4EkTt91OEheewiPYP7XFsrv+0192HTlnPmTveqlU14j54p6qsGGSw/whpwLT7ug4Mlj9uJwUcsGgzpaB677m1d39zkklyQwq0xb0pPsdJ0EFxKNpwds/CbM80hI4uzpcnhLKjYtKWxVPb7EHuhK25lGal/ZCUlYkHitBH+74cQu33FCG3RCzr6fnt/qZNkQs/t06Bcjm4sI88bKh5SPf68B5WY1Bnq4iZFwPUC//Sb5ALeJVhq3rFlhwSMqg56k/NPm1crXEZKmYNZLGZZB955OMe6cTwoIHM0FIDKaJ09UvK2Tu7PM8Ys8R7lpSSwEewloSYbvY1F/QndDymCsQeZcl7FnMAaPAlca3a/6jrcmdEBhYD+whnTopJo4XE4IJz2QUspMWzjALnBhyswoLWrdtvv9wOTnnxLG+M1V3vIjZFgoE8c8FMjJv3grLw8twBaFYEM6EV0WdVBpGKUZGFt2Vevg+pP71uVcAGO09qRbgAj2XZSe9Z+4OyA8dygJ1odB9IJUW3oeyXV7NjZA1+2oYSIbbacFDpksRy2BGZ7vPFy2l6djc+JdbrI/jjU1CwyDRPvpkKr5VZfx2JwYSXC/+WWCUbMjjsMkExUYdAzd0iAOc7kTcyr34dX6gqaphqZoGaqBRVcaxQ8qbbbZV6yMpT4crCMjb+nebkVav1UbB8DFhRreJdVahuGCy2dYh45BPbe6+eCrtpAGkelfZLAwuVjRU8DJvut0OZhiN1sFsbeBmHZ6LagoqiysJGUqespLmUUQcpeMpfk1sp4JIHcO3uHFRk15mBA7ekQnaiDORncpaQ9nTWg6C/FdQkIcECGbBnPZt1+ZTmvzTj42y3iIpQxlb/qfP4/00/+Lid9ZgHYkuo+YcMjfb5uFVk9M0aWFwhirgyOGoD5VhwEerQNrqYH4lNCIJSIxK0H0s5m3HCN+nmTxo3fHsrJW2Ve8qJE/innx/6odQ8dFTgok1EKBATTiGXIL9VKPHldxdE/c0BEXxLC0OZe/9E69sIDNegRKf1JWNDjJ341L7gglRIHT3r4umHciOUXswUg+T5d1gwexWOj9ZYfePTSQO9NRw85bDIGAeTTnI+FhxhX97nBydEwAb5eS23OEc5MPGPRVUXM7UMqfABzYpnakn2M3SAi7+m8qUGg35xD20wZVR5whr3RvxfTB2RUZPnW/wQ+HpE4egTt2h6mms0K7ruN+Er54Ps4ueKS2pCLZ7ugvGRGdFthQZKcikOVxaZ2sNLvAHpJgj+2Lqghbv0NCoBecPnvvL1gYe3dOoGGGWU45q8cA0gdbQhLY7FU3udXmp8A5jA/pCj1SWCSDoqaubnziC6sgA21h5Ls7pdqeKYUpcHtuCpshHDyrxLWWrAEnNxD//KPsTlb99P7UnPsQZMRSdQuFe05L1oEnrBaW/g0HE4nI90BsWUocwhN/pUhNTA82+hca7nCw4ZXqBzdFSexB1rQTW5JCFNDCVngL6JLQ2b56PmqyyIlA7ru1b3+eefFiqmCcMyn48SwjiyOqbefQKfchOBXSHTcffO40Zdt4VDS0xLFKB6v22YlaiTFVirffHYfQ4fBmBU4k/iWsuJ/UtZ/6vi6CUcUQW3CKXXof3RdMtZOfcH29cubvO0/lv2Bjatqwd7+WWh0voiOn4BGmRGf1qu5+Ybtf17WeRKvCSv+NhNglaTdfqSu6W2w/QELRGK0YQYyg7TkeVpBkQ0UlcBhaHhRrtmmONi4zZnjuIzAFay0Nwin7RdAvw3krfjaRcgev+ZG6UsyISdEPG1a1AoGfGFk+SSm4KW+94AXTt0iDFriSC6vlVmma5/Wea8OEfZ3SVXyy25ZWvBBjMVsWr6UzfoIgoGvg4RDZpqyxpwmHkRMaOIkTYaVQR2cbaQZ4hd+e6mJkUC8aAm0+TG0NHukWZbweucqqesy5qByzWOQ/nB6bzKr3XrEtFWtzhkxjYyNjCFKQeRZmOJb3MAcoyMXzr/nhxZdghW0W5QympwXzhxoTv0zDzTWBbyCyIj9KWM3OWyN6EIvjhtZI3uIMwVxUGYxauIN4fyIGMqbUi3/DIl5TYIN57PvJo2D4y51iSxCdVSI+VBm+Nr87EC+xfHKs4Z5goe/cjR6Qku2H8rVQbRdh+fuSkGPHIges0LKtA1Qrs2c10CaQTumAfik4Ky6vC7ysmfTzYIeOBQHwH87LyYICDT+gIYaecR+ySU0BlN/kIhRrRSE/MlI8yXCWuEZXIg87VoU6R3Bp8L6I0me9OiUJp0xuAjNOi6geTaUnKFyYW2lS8fFdZP1+E71ITm+CnFJ3vkxT54kxlWw9aYM/ePWljJD/I3ltevRGApz2aDuv4Uei08A5h2FhsqP5TPxvfoGAG/yi/XBnVPxS666e7LtuViutAent+RD3l7zksa4UtzHNoxB8rh/Z2ndhyKc6PecQ3BMbbIUhYQATRABUGBH4DzKUP6UCaHsuTMjEq/qNSTybyBv4W850F08urgXrF66uc1IHsHXUugIp8ObmvBU8fXUDM38zLtIqKqL0yRU70DLiBnNIFQmlKk/IC7AiQNFdQZ/QboyRcLgAhAXzkGYY4hNVAGvEfJOLtTN2MGc3OBB7iXJ7aoWeduUtiyaD8htEFoAaEf7/ImbGvQtUxz+MilyeHVjvYQOB5aTTqeDEWMNlhLU1h2BXuORj2JsaIjpQSRPKKbWQfTmG4N585mUMLnwNxkHb5Xbkt+Ur5Oz7UWRRy3sGuOathV2aFnY42R/caXZrwJJh6M9T1k0qVm35f+S5HJn041vfKReNzNCOdDACVMuJR7tbCHDiSMhN+3u80ad7CEaNB+ofw0jxB4Pr7LQQ7w05abcEpTJevlJl8LD5lIMZ+JxXOYCamA9anCs5gFfnNBZ+zmVF6VKLE9SknHdmTvkRqdAlWU6LITZT/EJ9VSM4T6iBYTKpzgL35U/1Kk3XGXK+pDmK254L8VEIzMC/gcnmLiM60Yz/tNQ6PDd2fo9Kv5PHwv9Mr6D9tBG5LYTTt5nUaa7qrxAN3B0tH4/+kq9tWZu20v0XCrCYlNRejOf55sdspW4prhhypAjI5Na6kUN/p7DseVOB/3IORS5KFHoltoFmwHyyCt+lfgiKiHELaI5ShTw5z+bqIbbuCX6e4aWvwH4PJMFVPf+XlHJIkeisH9/1CZX4o6+vPxr0VyqoNfgnjh0iOcfWkqXkKq78pYHM1XkuSO47FXrK/coLA/jTcTZWzTnxQ/9wroYjV+fP5fTuLxoz5iQIBTtf1MmVF8KKTKEEMaQGOIyGMCrIjGD7jsNuxF8E4W6pUcNi76jxOhpcoy7jLD/U5eVZiqCbae4FFLQGISf9yzi5W5EP96o2088QyXcdizrLv3B7TOSSdbpZXSJKxlW/DJl1lGVGpWThH9RT6x8mUujHlKcYqWMkFG4pMDLio4Fr4KdnpwSQ5YCDIvBqT8Y+EijtWqVT5F8PPRHaiLqaRcmhN8o5dIRzCUzQJCOSTgLSfYT/fdqem9ion/fHLGBLcPNCl7TRVsgWSYC23TC1zp/BrB5naH+ueuZDhZhnF4FY8NBAiHUIx4lh1ROvYImza9Xf2teV4T8BRx9xcd/8qyUSaBpET5fGWwjsTkLiwOFPhDMql5mIFUIopBwpQeigIvDAmynerHXZeqR55DfVNl7JrJ4o8/e2Cic47Gz7OEDPy8YydIvSw/PywoZeRmCq9vxT/v7KH6p2+m46qiIEmGdOw/kRqntWHcJtoT/FbWKnauNRRPXttckoTzltFdUTugEO/sV5GjnDTRbvlNocdozUskao2TV9vcaD3LXcV7vAX3qaUbBgsJFne+nuFVn3VvoOVo3Ev7k0K+syQL7PU1yBf1IlAIuUMgwlIffzS4amvuqd3e13MNWkt/MiLp8nlbH9ti/+JRUQ/OX/xZkKBaQBMshNcjXeyKalUX+HkURC/vN1K07zsRdg9IS3qEQy0qzb6CxXtcNfzQR+q8dIZ3efybPhQm2S9NJAJE4aWGWYI3XgSdN212XHDfwO7RaFJQMG3/bZkUlyrk9KqQjo3z6VQi09uTnEBMrhry50tgLPtDJqMrQXojhwfxjQyORaUaVxceEF7U6vVqGBXSVDAcAF8CygnCb4U21XEWXJ+5uDc8ApC2yTIlFrmhYliES/FmqCP8FCEWwCfMieVUFv5N4tUfqEWoshh10NCHFOihOTAtynB8sCwD9ncLi0uYbOZbYiWTozBSanw6e0Db5e9AdF65hJHXK7H6seNwu+j53FiCGY+YrSsEPdoabSGLl4hXzMHELrXctVw+UfOxWvDg/04eTX2I3zkKiwp5jFigX6GT5H9p5Z3QEfscUS9LQ/juM3Oa+5za//KAZMUcBg0xUR3N+6+Te1dqjul+TUJ9mxyFtL8mMJn6mmzm4cC2xPQ31vCVzU8qIUF2gJ0AHE8mHTWWkWNYUeOt1u4fN3bafG+eUF7hICrVmNZftrqCEPTdYQdNgAJJBV+XRmK2phxHSpVLw6rMu3GH3Y86UyHjIQ8rQuexvwFPYpSm26SbLU8vwN79FI1O3XozMGyoes6nTW418x8V/ooDMIl2ingK2WB4vQnWukAbYsoz8mMsvMiin1GWvywzHmSJKr5vGrqzzBS/n5jZ8wUhYG0TniDaGeVCosdvR/bIhqwiNnkRDAF2JYeMT356gEQXuHhnZequsferYgMppWbUBn9LbgYFlM4gfNjAB6cxgtsAf0V4a4w3CJwlbEDJ2kTzGI5cucvRZKQ+YJsn++vMBlxyQ1DC27cMflx2p2brMDw6nsbanlj/cDPQiWD5WkMPy3R6PG/gnPsk6+Y4HBeapsmACM5DMWgsLuO3i12GVycUYNUNrlPkncwCSTQyYWOasvc5GKXpfY328hKb1fbgKHW7JBB5yuAj7YJzTggPuwgU/e6P7wqymf2aRxqJH+FwnUqRwsLkhui0dJ7EXB0kyiauBqLDm3UGefpLpDcMNW+fAA61RmFYC4G+3SNtdd1JrpL6XUf4voRvxEGxc6JU9IOkioG3Ngs2RRScv1zJlbIlJ8JdKWE9SfHqM/+h3Cz0hx9wJw/HQxl7g4uzoIs82dZhPHFY9/st21vIASV0PuTCBXPIjXXCXvJ8jWRCPk2dR5bmuzMV+Ydy5RDUrit7BDX754Al4F2HEBeERj5uxGJH0o4WH8fLKlNE6EDWY4j04UkfrgeOZlMLLRXlYl1Bkpfr5y7xvs2tBKdGkFELbE5nvjz82VmS2oKS/Rh0ZutkmYYmW0uoTL1wAK2DMkvJpF+LlQeAwvWhuOfiMOb99FDpl+dBtxgZ9ELPC0qSqI2FDrQlfGASxpkJO+xdgfTasYwEgts6WnkYD8gFdNIv4uSm44V6MPNq+3oP5onDn+e+oeZq1IJX0fpj6zvht8NsDWv6P67kumwOt0t9XVCNET6gXLB6wCXYCe/+TvO+P21BYBS1ktlrNGEpopfGG9V3RHB8h7T2Bvd08Uk49RV2xSijINJoJODGbiS/k2gmmWcpcmyQWtdwD/pGnQmuANao4dFWKmsuNa3tGIAw5i1GAwsbZqbEUmo8+TDSgLDM4JFT27jcHVazOJRbWk5EJmmS36v4Iyem1QalHHHLueKR6ZWV2blU9jSMii6pwMWPzjOul1iIRVNtj8dUomXG50EEX72s6jAYQJqSQSu0lWiLP3Gq84QoNxYAp1SrpAcFsQFuZR9vO5cs6NjYb0KJouqoCVeb8z7yGnbUFYzCeh45WcK7mq7YH7PhTnPimmb2AMaekrusqtX+iuu8zPALuHd2TwnpfZBeCYGkVAAmbO3aJETjMscifh1A2KvZ70n6KZhGxmtmcr1GwDGE5ryVmZ+Mwk812vvbZYOg6G0MMGqSVZHciZUd6akEettHt4aKIujGhMHlAzyE44D++xPJWXnDQYkWcwL3MHaampf4TP6vTqFoFBYKGa4q0ROK4I5i9hDzQ8P5c7RvFsSFqy4HipziDkWN9hHEuvU/+L6+hc7i11efxGyPAQ96fMHDu+vW5q9lx82mzWsKI9ilLWbtU4Euz1nPho+b9RX0T3KKZxMoclgs8FIMkspCRGjTkg+EHq8ERJzsut1nKZefq13S3lEvgFaa40E92B1rifhLu/LhkAbyQ1qNFryAu9MQvLHi6l389RaLsNR+n7eSDg+xLeR8Jf11qMj30hmfxjIwwIKMkVROJVmtogP8aHR2Wjm3+MN5hZgtIby8fwqlut0Hp8V0G86d1hlGMS2J7+lC1/ATF8p3ItOPlFm8dJeoFWZvcMIN9eEbMtfZknADPgXjJgWUNcf1h3KFn9ZQmCwvS2PQHcpnMNTcu5+KrySZ/8vlB9GDWUYNOZ00EjiIvHT06RGJS/ncVq9zNTLDVdX/H5pcMrBsrNE67K8lWsmhDoK3BrIIvcHqAHTLc2B5Nmki8QkWAqg0tQsK4bnA63CPungKN+kNxZvbdU40E9/oa8865hK93MZ0aQ/BkHTNnEme2tu8SzymWQk421YKoXAMSWxnwR/k9zIBE3tuIiorALYtWZgIJGf9hDf3Cog1uHbrefOpm46EX34/5Iu3UhMb8ImSkIBkH+mCKQfvO/pdTlIyHBN/NE6KroD2OksJzPvrYitKjuEa/v5jXib3ClsAjYGJrKILooUBZPdEOzBQJTLtF5cJ5AFKfrxkyP269S3qt6gdsmv39pbDrpddQF6VBGP7ZaTD05vIRuocMSOk6O7Z9R7o5gFr44hu6dHQcgcEjNjRVtss1X//2ydWZRlyPCfJxqNdWmfvhExaslMkM7UlieDdD6aj/j98UFfbzFZD9HsS4F+tRkPJaLiZ9SeGptNT8j8r8J2PiQsAhf3d6MmYHgYcR0Pkl0lnY/3L+JooPD6LVM98j+FeRa+lZ03CRqyvpZNBsv/tKIlUjToYrzZoL0LzfOZM2jTFGgiP0/3rA6SZlWlWFmNXgvyhp6upP3CmRf+jjv9/1oHC04cDg4PU2aazbrbDzN67YQjW0iRI0AJ1GmKrTi2PzH24vlkB/3AlY2WH2oTMTq/5hBWxfu39sKnoYT273r0UzzPneh6MrUpG+lHuIy5kBDUwT1oXpw+EAb17EghVuqF78zAirMTayabXh/Vlu0oragfd3KLkm12R/4ZyQwvgbnYEDA7OSRFOrSV4WxNfcL299INl6Rol0RWbaGZ3DBbIB8DAWGQbsUL0SRtesBVxCO+O7lGsraG0dD4C1mCmTJ9B0oVqW+JgENuSsHTzYvNcQXs4Kb0Y68sq4U5z5fMrBRZMf6vZrip0WtqgxuaSBfxhvxwfl2MH9mQincwbth/9xPRTnlttgNTgwXi7c9QD5OUNA4IsINT7lLvpMIO2qknXYSRoJ0G7EOhP9PWoVDB8b3y/6Nca3JRTf53Qi0GY+loVeMA+XLIqUaMiUUDoO9PMbaKJwjvSMEH6shM6BOB68BB637PkQhEY0/eo/ECaUXJGvyssUkPplr7kdCPlXEjgPv6SviJbLboggocxVVJ0i0wRRkdPZK6qpGJzE2tXD+n9ddFCI4OEfJQvHpNGtGUNKjFP/bolVq4QkZ1dwoZg30cu3w9ScPh0GTeYeh+J5fX4nfwJhixP97BLXkEHFpZj0MQNBR2COyz2QR5eRgBpoTho2BtQVfye/8nk27qpCUYiSXDnlKJOPZoqiOyNcTqPpk7S/Y/u7Z/yMiBPpdpH2YGdYNp6fHm34AC28Nb8/DOLJimuwJth0FuC9LqLbw5Spw3OrHE/qkfKJunu3WcFW0TfBw/XdSPPhk+kVfg8s1+/N9e+iFOdZZRgHfne5aLzgWbV2BKVvldqWnfIWlzI9hZylAJZ00AYq/35DAUD07B7RTHVGyrFq/grn1D80x9ufltLAnowDPAHfSpH6ruAfUwhZgeol2j9bTg246K9EBB0WSO+GzywseL2/ra8eMMfUIXftaw/ZMn+nKTxpS+8mlvF2H4wUt/vyarOWn1dSdBW6VRxYvZjjZYqTbrtk3vOJjNEB5v8coX/2Dzz4akQrT7KPJtWwmAqntaW6tK7MeihdrNjgO7lW+QYVFjR0divbMmC+qMn2Re9HcWBQjJez2gYom+LNQsyGOqv/2+FVRtvj69QkKWK9egshnJUrKsGan7LmP/p5mUFeRJCi/YqldqBu2IA3jv81Os8D3wgnhKjhLzUqju3G57nuT/4o1Y3c/rNh1phRVlci/ZBzjd17V+NFI/qEDCObTRgvRpTRZYADRXLvvRnMhAz+PUTshGkdmsvxCRKKEpKQ1Ux3nw5oI0N70eObaHOxWSMNQ+aGI9HW4j2EjAtx+xiPT3InLoHrbgmzm0/GLuZ9GPC2c8MRWCS3/Lf5D8lc1SGgMwV0yUg60KrxBiB9SX8EWG7VCWuSUGs17Ad1tsER1mCFwpuV6Qgcz3ca2CnLXA6nqVh4vx0mGsfgNMMONNCNDCTlQlKvK6qqVeu1U00i3JU3qef7d57wH1chyo8Mgt03Fpsv6307LvHn8MYsAytj6K+FCrgVC+7DbTOpkomTkj2NWIghGtFiexLqoetOPNSp5SG8eYZGzgwi8CvYvWdbWvNUztPPBRQYiJUsEgdzVRF9wIUsDnHWCY5tzmhmPL5bCvgNtE/xAxKgPTf+m91eDMTsK9a5hOiU4xgm3v0csflUUsQWx4R6PmV6vYsEUfo8ju5AWw5VVaAjZl3PoQQ75M8iV+ftHwrW9gRYZTe1lvjNLbgsClZTTOaMPTEif/bC/8WEH+PQjgk8XRr/dQ/6FAZIQM8FS7mi4IvoTJFVxMfNIoR80o5Uh4FG56G2J8SijGsdWkMfgawV5cnjV0UcGaT1UHmKaAGxnv35HTHjvxFfXay2GZUcobbgkGwsg0BSWSjHX1zH1ebelWvzcvLY1TliuMUVAX2Pthoo2C/7MvpEcE+5EIGo/8w8SnzvqcDBrgroGsHul1nNdCIQGG1LX5kBtj2HcNRDSrB1amHKP4yssuXuLgZieEHeJMzLv7vztENQ51/BOoAt1AMVPuRiHagIO2Qlogd9isRZq7/eok6BZ8k+oHqYNFsHijcsz0UaHuA9fagf50bQQeY4PlK7swW216xYpvrHyEt1D3KzwnFH8B1V48FtBezbzdYDA5xmCwxn3MJ3dkZaVPrnZ7Dimvl6dQFoPWPa6J0DVrognimDqGaRQ7YVfXkhZSZ+54j2IvL3f+IYUC7Yd8YXa/gm6aaduEyzCh44J7Upc7eroi5jhcIEd56viOTT4B6Bx1eer8LNLvofk0QMJ2JBXn3b1hTNAx5f6EZOd41TpAJZhj/CnOlCRHgKcVUjYXLfLp43+g43WKdfpiheG4L9b7c2gGMTvfFGLIBRVACyeTwNFLfZPO9TAWcBx4EuFFOc1KhVWSArSzx0+h93NZ4E64PNbH1Vsm/xrE6mCPqX4BzuRHJGsXNOz8wWA0PqzcCbXkxVYgkE/BWiN6EeEMC3ZngaCcxdRWbA8AaCxCQOnz3zujK/gr2slFVvgGR5xT1fT+Q+UIf3F8dTnsaWXdZL2Q51vjxjo8rBaTovsGMZw7l/Ie8VLXvpyd9PuyM6SfTyMkE5QuIR6wbhV3fWIAqLRbVtgyUd80jRChIVT2l2dg8uP8KdihbVApht9IQurJJIAznQCs/1LcVDeiMQ+oayQhIEhEQuutSVKX28wVwAKlcUHIydj2vyxE1v87HkDusZ4KIVdtIGubkroAdsH3GtCsBGbmGmqGXZYOe31xUsdDqT83kmkTqcYFFmvGm3dwsjTBf/1FIROH9arEF+6HozE/5UBgzyKDDh8tVuIlwnw9TEhGX2l+vBm/ko4wdaypxLZhUVfcR/omZzugGHLjgilDEIruZLoOyQwEraYLa/rhFW1EXbqFepNYD0GrBCTskUo1cctMdHKUdccp1eCp6uOAJ5uXwjE5PXtsnFeGy42ZXTN3mkmy4CZP5yfA5pDVE9PYuL8ryycfS8VnrlCCBIKNjdKTylXaXiQ8897PcpvaAVJQmSC9byEqvz63fEOviIeQEk9+3Nnz/pTeOsrZ1deZWahI9H9djZfFQPFnzIcvk/kHzEFsJAFWDjhKS40c+gAeEsLTIdzKS2GkImPGWiZJBUVcckEsLp03gzrSqtmNDSBXxZ3KlVzXZW5VhuWWhlZ2NfiZjTcA7LOzIz5J+oR5NRRI+S4ox9CVfiTouqb/K1ttsui2SHeVFRGH1euDSKpe3A7TjMERBM1lG914iVH37LT0VQHmVqUylWe3lyRFiwRpMlm6hIBw2G4hwRgm9wp9uUrIGp0bm3ApZKYBV9igE9q/HwbjbKzPwj2MmUasv/uf7/iUKCIY0/9ubppnelkTwI/C6dW4uVP/2KtYKYrNSpOhqtAOykOw+sMkIcspfFciC7+q8a2Mf0Hae909w1LqaHpZ2MIGOqA3kkTLx+H5HOh5yvC+P/hkGoy6jBrX5mjTb3fATPM/itqGE9iu2q2zGMviXDxP84WOn3mj7JsvLFLsQ7D7+0Y6/KG87vdCR4/FonZ4WYXt74zcbIkVBneWaDcV9mjDXOD/+iClaOlgjEkjNF+1ZmH+ELXdQMyaG0hONmK/r0QnWJG11cmcr380bHakGR6bc3KOFJGmqs1Zq+aKzsYDpLFevE3h1n2yoGa8THSFwTr6RuFqnS89DBw1xp7ZV1ivixwzQ8VcVnOxkKtvWayNvebkfzFqcLeO6bn+brzyVwEeMQq9+I1iheQzYnP+X2IHz06HgDRUcZMAExtYqYqVbY02o4HIztgubi1Ok4TyodI9O49J4jEg9KoOJU9NJzE7R4vQ4H6+rrd7UVDRliqjpxWkR2MYegIeVhZOlwEvITXHkmeytaTqUXdRDFdjALOxDw8O2GOjmGMMPMSFLHH3QivjK6TICiijtMTy/E+OnSLLa6sv2irXCtWmoPAVgJIn9OVS2ZkZUh9rHCCMkhRC4Gb+Z5g6jis494cmxSEr2TintwGcZjecx4abva4qlcJ93KPLiJ3zKJiNHZIMZ20GXy18T8ZkK2pl1EQ8Kgu4H+qv0HbTLwaBhNCXbfNS6sefNHFuvgOI7oORDuv8hSP67ib9Mi/wyQiF5he842qb07YyPOlUe4/TXuNV1A7VNDpzS1dDJTzQYlNu8+uWYwn1j8DH6g194mi4SSsxt3TJYqFVVkwqpoqZzZYcK2y+6yOIAe/O7UTCKu9MAHJeeXMJ9F70pW8VAfKuuyCnDPy2+IFxASMRSVwSE6WVZs1WePt2hPKljqcztBZq9h2WmOkeBQEsYgarjmoibjxkKEQiX+01neDg5etKUfrFuI14APZ/QrBExkBc0iHMNGhhcQgrW/+vj5G+RlCqzCBWTTRTRHteaCf/HaV7QMN4APER4jeBxDdkHdqNw8fyYPySGwO9vW9ipxLErfyOyGqRLOTedYC1BsN3E00KirwNA77Ap3hEoW/liqlEs1ADqOotBE159fxiQX5ex1iLscJaAdFYWydI48tZrERv9NE2X73bPfP9a+Nun3q9aRLBfoyrACLK3jqjH5hLekMnauhd7Qww8OOQTXN/7IWP6xJMyAi/oJsjf+ikeSSmDUg+Oervo7IdF68xbYz/fQdyBliuKpgacQpPmrVlV64Du7L2pVwE5pUH0l9J+6BHAwMUXNyyWlzU7ipBtApXzdq8217zZ8PWlrhgq024YJT5kY7mO1RNtTHts4pK2tUu+Jj8eqhIP7vc+5TI9MV6YswV1dEr9yNBwTcXOzOl5Wl3k1mo7/VqlFKOfK38l6vBU3VvoLfoe6mrAlZP0QE8tprYIuQLUI+c9F8+idjvFILHL1IRkRmvZhwS4kPK8zv8H3pVXBEit7z0XQm7Yaau3lLGv0iu5lm+G5d7TvHp4cAHbaIW/LcCC9iaGxN1Vpj78Qt/RZtFB11RD/EApMaWVDTCSeVAPd8jKW2YQNMSWYGEN7yCBk4mzl65hBO8yt4eBGyA7zLmpWHkI6Bki+LLO4f9IqzlwgOqFyQ7xzVMdtByeHqtavFRtnEoi574SQunqRkBBxkB+rlLw7ztVrgTz5qgp41jvECj7tAclTHwWrmCkND3WwYAvhp8dREKNKZtOAjYcpD3o4BBCl+ePj543NBtBa78+J7+m4sVsW+R0eobakPNbVddC0VPG2OdVV/TSckdLXCtZVkcL8Nfxnee22n6UJlNfzFo4NwhBlF2RkgMsh9EMGnDXkznxO7YbcPSD4R2Xg60Nz7hDBP2tlIaBeg6xP0MMGoMG9K3cwRMK7kfE/s8df+RLNdkHOdmo7flgQm2WtLtfu0V6joRHSRZ9bbM1ewTqSuLPDQwUViSobMNH2HawT8SNp5et+ivSXipVPLRNwy/17f/aRlJq6yHwecMSI15tsuCLOb5y9vZFEe6dlZx9tILdEU8dEnuCG0/FavW/xJdq+OQNzGDvs5ZzZGFsmFohF/aSb5oW+4qDjDAerLPL/I54V6UlBy2GxDTnvN76D6itIpbW7lZsaaU1JaAr5LcDYeI3HS/aFDFm5UEjLc3u9bvfEIGCjeeVKV60SuseqisanVcZi5hUNe8uzRd/KaiXDBLIIjU7L1exnSnGPiJ0SOtB/KNGI6ctjphvo9/oQgl476uo3130LHDisAC3EuXPxWD8SvqqxkG57+pUPoEFXfJG6/sIF3h4uErPs+qHh0dfDC5hOnFMjov4BJczuV6dPMKwq1D6OmqGP8/63hcbOVSx21vmW1RJcXHAHEisRjdyuSXwlVDTHZ6uaQKu7eOF9yCBAmrDBzRjQCZwEg8+qeJJkZJGNSNhEGaL+KbxI+owmiGrK+C9fC3g1/Ppn28SfEA02Wm6Tr3xM7pIJdO7s01hViS2C0gkFVcmvvunI/vIh0hhlP2iew9BeRPdRY55y+7JhGZvPH6zSbvrPQfGJjM3XozIVLldV6S5xtD5gHEtBi61aZkwyM9yuDPd0TJsFrIp3ym+DxLl0IjrTfkqX2qZfNlX4R3x4gKmTDLqtwK8/PcoH0IpoUOIPGds0hvIvtMmNjciGjfNEGFBGwh7QVT/QaY4mLP66Hu2W/o2782N8Qc9Wd7bTmGuxvW1FkKZcPHwKDrfuPsCg7RGxswWkFPVcMmIaNHCr3o+lJX0Mth9R5V8drTAtliG+WgMD6cAewuIkNxZDqcJbDbPdFVDC4kWNVg+5KNftuobiuZ9VXleU2mLjj++TbalPWqRfIYkrT1Fk9QDi9lxCQHkDHoexw0mAqODjwYqc5uru6GTy/9U7LzUzx6uh8ErSUzaYGz9qRZ9ehuU0QRcLt2bGjPjzPaNyfXEgcYnRiVqD8l2CBCxGcDrzw1Po/mpIgxQpSqfAS+MCGoxh3NmYlzRmGdISA4RgO9G1PHrm/7CNg6+uShWHIOaiWuEPKg/tXpu4nxqdu23cVnkJDV+Y718NoErQadP8xKq18OPY6OtNQptWFsgF9WpgTClt/bc/sX1oHLcqjSqyTzCf5S7IrgiprQAA1H4/cTq3ALDeyt1KF/iTyP2q0mv+selmh6A2ewlWrXtve/5hIRzp318d6RGx+Dc/l6DT2YGqnnfWW0dWx/YRjdKFzxJhYW/znIGhiXy+zLgpuRyyHtVfWIEvlZX5ov9GMAGdLnJKsSb58kTz28U/1WjVn+DeKpzh1yd99t6UNqOnW/hHwQ6R4Eorq58PH6pNWoGFaEMbkx8qQEvgYYekbUmrfsPUfQcPcybDGICLRUO0gZaG2NTdJa7GKz3Q4LzTV8cWv/KTEuNxUr5jfqDpmspUEm4EtpSx5NAvamAgUZIMzL10PA9/BK4WbjWIzzxWNEpN92boqQwTLgLdks14V9lnWsJ5OqT1qAwCHaQ75OImiA4xcJwi28QGv95PkqsVhdO6GRoA95kHwcG2WqH1ZBMbiKzkdf/suhjwMIkErSbFTmJMwcAVGINHs24Ouj4bpt5BhRywR52HtWT1TrguZnrbK3Flg8bDzPg0vLDtxKinpeHW6HvZPhMESdxmOtfdywTJFybUFzf0qoDCpMqwBnbJ5wXqBvf4rqQkhkV3TFYkyV7pG2etG3WZI3kv0hiHkfMxsMHgznhEoqJ5FokoXTJSrIfrtMgYrhVsJHDNdMhhpg1KXdSuOIpIGeueCukug5eBBDkvvtSEmFqfWwLxo25nbv7yX95hxD9ryLXNcgSewQqA3grPZhCs5Ph+WKyTSeXwG73uLUg7tllp1OBAYTWsIMslYz3QbZHc0ylgHlUe77lhJJpl6sgEam8DDmZgQx8h6eRq5JItiZIwnPuYwO3lyvFO7cgfPV8u5lwL+Cp5Q9yVbjZDxtI2pJ512rUmccVczVW2OJKSxneObLgIIKmwxMi3nXLComMDJ39B+Px5v4UR4daQd9FXIQ7/WK0yNADGMwpcw3yoXbTlg8a/BXn9Un029o5tFjXDFkAuvdK21VSSYG76R6EEyVEDrw0AzGg7/0pHbMqGzfY3VuXOFmKekKXLqQvHRuVXyySsJt1pL1lEoh3hvgknPSdCHwco+OwAHyu17oHU8291G4q5zy5KsruxbBJadny+wx/7H+UYgla5T8pBzxJICmVcCryS+NvZmiHWbH6kT6QNQqJ0mGdTi9NeBTN8laXb9aAk+XvFdYEj01X3+6h7FpVZKtE3fTVLalqV+tfCoqA5ccV0eauQ+0FrQW2Ys+mtw3hBi+1nt210aCAo7RXsLj27fJ7QHUM9sp0H4BjVT99L2LYOP71W1IGehAj15jWjQwHoKg7YV0YgLX4I21o9Gp/l2iJAPpGWZs/U136/FyUOqkEUZG3xhdKd7XUJloakyVFiYB7ivzHoAaVILzI0+5gzeOj6UAQCyGc0WFS/2mSx2oFJWCTmAJUY+qXouWpRse1modYw5KWIr0Sgrr6Yw9/bBBs9Y8R3hebgft/xxoLBdHQXWdhtEKZaR5+WWg9N8xUnaQAU/wXJvSmPKZYvOTkT/bQoy4WLkLaUC/r5EUq47pcEDUODdpMjNZAJ4Rem8iLHq7WeG0Zw/X1sikBhJ0zHKZ5kh6lkmZodR1zw1nvaFXRCGNBjYopwwt1j0zw6DGPAoHaIoiEsbTv8NfOHKNKwHNqvBH5cbfl53v7wQwhcmfQEAZHJ1WXVsY0QHZbWcY1I5v+89Ri3uqvtQP2vJ2S32A5ZIAmrqiBBhfMMI8VCRwAXjVYnMHFOG3XPQdNrO9N2isiFg/Kn3NNNOhngtcyOehN4ZzY4UCmwR3NcoJ7t3iel36y4y/SOTHBgfKbfnckYDOWS5MOhKZX8KYz8uUqYvJ3nvegBk0Cx5t53WWn6F2J+m96ZiqDrTVZ60IxeEc6/F6gMKeFbyWifrph7H8zGDE3hYHblBEXaOTAp3iV7jENYzSaQ1RDttSI1P3W4iWFMM9swseDsjVHbjRmlndtqkCRaC4wwvxKblOGFDSJ9jPYRH01qzs5rWSsnLITjnRvTzqM2b8A6WQ0ZfGt1Ap/keThEpN2AV32NcxtM/EInjoryxhcKaSCeCC5s7jGwiPfacx9kAEobeE4qz6MEponYEtmQb38NV4EELfsfBMJxSpX/hlMqLBtVbmApr5VPkG3Dh3EEnHlSr0LNC/5+GRmYdweEV0NwB33fnI9tEqcsM9m7i0+UYjxSEEgkjgQMrJwxuxECNCZ1s8lHyisbjdTe5bQ3m8Hn05jSTBP+UVl8auiQQYuZaOZh7ou7c4Bv7evqgpzhmpWHRzUFhRrBacRU3IH6yJbe7aVS1ZvzKzju4kxO9dzc/QlYTRTxUXnPtLCu0qGhzWPYU+yifDZuNwNVFREYEd67/S6bg4lvWGNuHDDpJ6irgQUftjfegfFyA1NntK1pQuj5mTrMEneG+S3MibNbxCO9sZ70Mh6Ah17q+qXHWPQLipusQVPq4sEOLQhn4rLb1LRy6JcTNE7JbG5SfBqRyMBz6VzRbV29b27kwIausvS43bvqhBvyqpOKO3utZfqKleVQca6CcMixpNviv6iZ2xE1L8ukO9GcOZPHwPwbZnvMwvM/xdoZycbFq6fUBh50EExsZVusqE/W5jnnMSRH9kO78d6165i+McCI5UxN445nocSAf6VoFeuQXQl8s4ckQPSVhSd8H6foNbUQT3Fj5MD8oVst8NoDdivVH15TRZJzu8nexRXUhOTSY4eXnuHo0thLSkRitJORlvkdWXc7jYmOcBv5Kr6G/Vpuyug19FCTB6XOmrJVgnLdWMDtcNm3EfAmQD5+WtEvkTbKR16opoQU+ddOYVkEdzvt8l+8/qHDr9P8xfnaX3ll4E0CmeHSli0MYsC+DSUV+Wp2xKin56YIYvLVct5BUWsQgbaoFwa37kzK1GxYrGOY6VckEQ+MNJNLaM+hEa/ZtbaL6A4ERApvCa6Eq5fxaA0IpOYdpDTnEMSHLvO0ZnnYvrmCSNdkGfE0WUAoYtA65/YYJX1yv0Q+jwzqToDabC6YmiSMYgaByXA+sthYobBJaxaqBeJ1UTxeji7Qyoz57AaFoBGaEyuBhbuIrwQxgCyDKSgiL3JRK3kGEyXo2if6EOBfO6GO99HTvRQj6LM/9WI1UTzdMMHcYZPZJfOPAh9AVIUIhA7GuNTB0PMfJh2pfel5p/eXHSmygChJCoe18MR3SmvTT5i2363VfYuM6k+jEi84qAP3kHs9ln45j6QKp80OXx8JHobJ4OrAVJTrLo/tjdBS2YWlNdhud7cG5nmxDSzh4vhesioKW+XJuiEBCAc1R7TtZqHtYmt1jucrR7O3dALnyo6AexW8Y6YJ2oMdGT4NNV5RhnFCdGEKGqqGyLblKNooN9+zLU0/kBNuJhx8k5zPseqkzU9+vxwAZQp1qFU3qdjxZC85s2vksRsXNW8K1ntpNBsF8CP8PRaMeqILYgPPiu8xMOiRtuz5H2SDikMwU4rTy7C2LAW6oL9MCdfVm8ukkPrtUKcNGN7o0tAlnaNe5ITc0bBIbdp0cYo8ajtDT3jpHaulu+4x0pd1FSigjvDbFTitPuVYMeFzaIFPkB4NpHntQzXRlso3A+JK/KugjYmGqMhzQpqasuQn9GTBjktTEnmu7fpKBUg03Tibsh0gK9UQzpg5yC9gxyUzbRxIlVmCEpELj8ZHwqt+auMzpJXuwTdF0Q1eHaXh6hq2H2d944sFudEjZvRdcnYaUUcdRTKTog+Jt6E3bGqms1nSKCBCW8LP2oSvpH/g+jlSKhrfHsB/ZKM2X45Q8mC5yMbX/d0A2xBfVRMimTnOuf/mzaDCz7+hPtbUGyuPmPsufOScBuQ37kQSTYfuQ8AOonPqBzOpaGyXrTa+iqWu61MsXg5VkpXTXN/rFXSHsCLKEvTOONoO/+tW0yvOYm1t0Rjh1zLRtMntS8y4fvwN8CWgKTKATdZRp/e+7md+sSAlQum4ZUxzL2r6YfqRhYNmaFfWub4ZCFSqnZPq8bWL2TmIhVprNk59MBpf3dYzSb04pZgOvGZqqqQpRPfnHN6u4RuUsHROVgyMKsQ1Cn4/pR6Wt2p5e6d2/jFBso1hhlP2VfXttzRepNFcuvhnanNmvc4fT24imGB4NSKf+OYkeHh+nrswUdpGwnrspU1OXZ+JdB0ZKvj2dsfLk5bEz76KcgnyAAcU6Yz7YpUbucunzttAD9LgHEpBaJIWo56OrFIveY/hkHQ1RKmO5MKTy+25X8atiPoPABTLOYXwjMz7Dh0ks0pLSXeDXGtDjdKAg72lULLrOygfL86s3VaHxvADN4IXTAhKHGyo2Jx9fWpRmO288aMv72z63m4cfgIIMY6rSyZtnDLAQbK4b1BWQgWO4RcLmqdq28Er4yV3WQWs47mSrcKSAJkNkgucup7qwKeYNhHA8h3SZE0USdit34tbea6nsMWd6i5nWQmb3hIV2kqqf+O6D2UI3n5qEVWhC66nKrjLG5azrbJGG6HYU3gd9GfPCZ5B8Ogkk8DgQKuWlTNBTvGXwXH1WAGMqZf4N8c+iiHwGzQnT/2Pt6p1Tl7oVecwsfN5bMxO6cPsg4PQw1eOrfXnW0wfHQiWfETsgIcioH1bcrwdZswXLOLx0ExHEbtvFV1WDATDLBoiqHlvBJD2KP36e4/1S5TdVfh0AFniNfW6aeiP4wxNspE9NG+cncfBpPZMRfXf5/87ScawGto3goVKL+AhyfXWrRjcKMI/iyiHHg2U8fqKWaCEkMBNzpAoiubJ4ZKI4eFurCz5Wg9kDnKWMXCcj3tzUbtHFgjLSDA+7MA3PuYqz+N37FrXs1tLA7Xt3c6pUl5JdOW0lQQuks5w10lTvRuFr6XsNwzEnuT9pAw71O88msgqDqEOzIpIxcaIWRcyI+IN635nrMfCYoJbvepNDBzuA0V39dFOq9Oac37vsUrU7a+GHttwziovfjeUxx/p/4g8PL7swkNZILGlz03qS/ipU60gPS7MHwyeIpBf6v4GI5XZVWY/oo/wlClzvBD/FeKedOjPSrfg6DIQ3Ea52KKGB2+UBsuW/vRucWwv+PJ6oA3dh6XASrQseBB1DVwj45ZAgUgYGskWRnNxcVl6JS3h0KB4EkgbzR18YQhTL6juL/UqYeWxS9hLT8AhDp2rEXRzFMeAnUXOj7ywOmPjInGQ5hlz/0vuVAwQoYXroe/b58WDdDypQ6R6Z/ldEgnhOSxSQCEozBKErehSS8mC/bYBG9DfOG2eUrDYJV7X8SkZ6SkTdXneteWIAfNVwEk4KNQapTdmPWA/k/CKCg4t+Wd0eEy+/w0A8vTHNBx7C93Y0IxS4r13ueerayAVXTXq4bkA1scq33NrtATYpiD2NbVtX8Aw0CCCs3+5ozYMBIKxONMW15aUTSbWoyQ16WmghTW4mn9OMIp8Ia6iD2awYFMizXp+myGkIN0ZMHbBRrghgm2kivOq61W0CXsy0nnmRPKX0Ig/n4lBeeHgiLDXqf/x1fqgzlZAxbDvr+pIJVUDjdk/LA/fEg5ixJ2IdCI2p29LjyDpadRv0OuZZbk7pFNGU+hxbdztuM+eyxFTZRnGJy2DpBRmZMTZ5aLqcDxrMZ3L9OglLMyjZjBYHhW1QxasKcyD9X1nNe+j0ZiNto0e2+fqdv/9M0xg+gzrzcUqjlvwippgyCZNZIGEFGYIsq8YuUlbZBvOR7sL6mgIb4QxH0I5BOqs8VhZTVPdP6/LsZpeD01dhkI4tAPS4k5TfgH+c8ipKkM4wJGHtMDoZ0YUMObv/ueF3+EiPeFonhgZWFGGkFk2EhNkvnR34r1pV2M1CakRjtDEGgSdGf1qWD3WtiaXCnz+fhVwk6fwsC8r59zTH/FZHM+cAzVbtYQ3Lhmwnb7DupinzNQl461Tm6G/OeUTRNSX7qtbHc/2L8joWIF3CMii3Jpraa9yWlN7WvXc4shSNRfuNJ4xDBI3rv23iTP5vf53QCXwA8BEx44TDtFTz2jVVc7Rd4xJqovttBFUp3divERz97WLiC3kqiiL56ZUlMqFTd+P7EMD/UzInI6Vub7ECj0rYb+LYPjIR9L4ITsTO74SmHY+RWJC2+NX2/aHTeN/jYLjwCUckU3tiiWlO1K4a/Pg/rpMm6PUMtfZQDp1UgyUTK1LQSnA+fdauuwtDSDArDsk8kUW7C4GD/PQJG7qAmW8Ed8i/AjqeQ0mDJMYfTyks4rgy+lo7URkP/JrP15pm9lmK/SH7v3jIuNVU677VOcimwI2XbkGB11oGURlB9O2YdQzEn8f/RODHOI1UKON0gXCYBAZDt3DiIEoSokhNyGwdQ+uv9OoYQaT/rusnwnbnzUPvxumx8dwnFOy3WhHG5wInmfGjo3xTQIqYsiFgDwq/cJqNphh4a6M1DyG8YKmKfOqkcEuS4jfEQd4KbtTdaW3E42PLHOODgJj/4DnUgeP1ppHBxWIKGST7WHs4mbzhPccsK3nBIBeDkSZZ01ooSIuN0Sl0CIwsdz6qRsMHk9/LX94huTh8m4Dmn+DUghDmUAp9M0f8GS/OmnMGvjal9mkeGVRzZBcLleJIVQpIsIozKUX/xoASWA6eQffXJD29Dy1PoSVxuyMLnoLBhhxX+0UhRwyLt0MroYsXCBoXSInDy04HQpvRWu/Qtz3XU6Co65d2SJT9WssahyahfCsewsfmFal690IIr5ZvtDVGhn+oXGbhHO/5a3G3PfgCKuf0s9+9DBTGJqs+FLGOrY9DBySKLeU298KNhSvQgWA2j5xM6IcAeA7Nk5kZ1qEnTuJ19mLPHkKr45uzwNIBCl2fVAKpu+SbgPZ5QSniseJhbGzoScVB+VgbtSBjl2xejuyAAA5W7GTYHCOXXLtoQOfTWXgTsy19J4MZzm6z9G+rgrPE2LRxQPYSUglN25MVZX/zLnisXyvTm6SviF1RvgQ/NgDpN8mmnUNM5ThEnctAI2ATT5ZbTTGbfQWN+e7tSbS5rxEz6bnLn3Kw+JFWQNsYoQklOw+nlWRfxeuBndVMCpxZd1OgFZmnDJ67RQ3xB9KG6eyMSMIvyImToPeesABl5sY91ByIBVO6FarMRoO15uh5iWgx0p62q7/IYHbnIYJDnB7nM3FGChtDtGtrF4vYhA9LrxD/Ly78y9bmKQDKxlRUjbCA97fGhWV2QrZcV2WM5ivsbt8KK4EjcfjwrfNJKGIxLYm+0ctRv1p5KyXs305oNgNCLiW4cnRl78zTZdhSEF1gO7tqGiiBZ7HhIoSNbykgBrNGH38WDzEI4fEMQArTcgyHDDmR220ti/D8ZHHv+BqHuGjcxPffPFXZFoiH83BQJhbppjmRzHafOsXkWW4qvGDUbOWm8D/d2ZykfNd4DXODqOdC3Cr3dbuzBBppjQrTZ5vhGMSUGqh/rdTrMn8TlBqSM7IbC8B40CcrIeBkbyaQHZvFUL1wNZzkuo/FBJyExbPT64zaocuT1ZQmVUUr5BjTS/hQdeQ5afiq5TXoCjKqMbAuoa06GSRl2j07KnppEifE+3KLUSELL0ZDLcI4fXa6dhu8zBiC8oBTANH0iSPf7vJfpADx3OISSEWtbOpENWSQHMSELNUXCEhnv9jXjrj8etyfjzss2OWAEigudM3GJ0H4QEatsoJckxwgq9y8DTe28bhcwpa2Ub+p2K1FzLOo7RJvqo3MtPbP3SGF7o/+Kf8a3XT1XGxelaYJ8POMaKEDT3Vim0zz8zrdiTpiVo79mtnhyQg9rVsGM6ZCwtcS55po7m9zv205GQMBwacYxK+8qLCpNEY+/JWKVLmTVoNYeellRMWzVrKC7W8Y5W+UoP2bCMBanM+20sJyL6Baph+R+uu42o0INm6eYBV9BAkB3RVu91BA9dhgm8qVkv3fJSwlum3/FC+/kZk+1LQLeg93qALJ+YwyHhX/yP+x7ZyKX9jHZvoWk5ysR8pqcMzZQCKTd5/KSABuJY7aoWTgH500wNvpeIfVHhrq4XJeKmPPP3tZGBgNBe8qtF1rErY56oFj8yP9GPCmzLbEMpZFsuDrK8QERoywbtyO6Te+7WH/u9LPzy1WnJAFo55nTHp+BXs9iudPvVnnT6uroYhoeUMFmoj3E+wJTIZ3IMkNKgJNIvhyo5hNZuLUWKUdlJmcFWwH3+xK5yWx3hUDthMu5TLRllxRUu5cFxjdEXpU8fICs6QP165r9N+BDxeKcNs1P9SpfCt4CKBvChE3BYaF2MgigNHgbFzd/SUY2QmVfmkUME9tiEfmI9wL7dipHgHfgKXBOwKH3orKJpn9aAELPcpZH1LUsEiQuIMAa3KjKeDcmlTsMV38jZ1vovWMDLzRPAnWMjxD1rpVUfJJ1YfZIREn0hSeD8ZOEbcS8hMN735ty0ftXSStHpluTTMSb+D+7mPB39Oemc9ALew9SnainZ/BOVg0tkl5ELPyIpcswOXuAik2BAYEOSD2YP9zmMhESD7p8KbVgVOJv+Z7wetoMjXk2djyZyyuZeKDEoAUXYLAmH48FbCI0fscFlBZQdWksPIAEsAN0ctgwCf5L4fK0QbzkYxxuuZn0iAkwkqVCI3mX3fhFszSND+2B7HIUWwr0MNVu/8Z9Qwx9FU8ib9R2LKWaHl8oXnlKekt/aZUYdE7wjdS/NMLwf6OBnzLF9j236AjGamfx76l8bbr53Zy6pMbI/M9AauYe5sYfkMBbOtKf+2K9olBetU4fgtaVyEgeJAc57s+mE9NqtFhlcMUUVSnAIFXJH0zlsMoAAVI1BF1KrWi6upv+Ej8zb74sl+1GNvlIVt6qVYkrGid3si7NjxuAaC+Zf9wFonhTtIljs2jJrDp4NNi8b07gTn6AScEbx+J/y4Xu2fqLORQGQgPmZLlI7U7/qz1EaL6L43kNEJsrWGsLPvKqT95arzqTj1UhTM5SAXMTPiWAj3QzUSL0IS9ObmDy4nI01aVpkzGmM7bPDCC3IJyV8Uh9xYlWsNg/3ntlGB1VeGVfOu5KjBas6tLJkES7O7v1DYWH88yIRqvgjaE04prk0w3o1ibTEnVtp5cYxBclEgWm4kr6ePH0JnIqihSu61cEITNjBic4TVrmcK4vByq4n2LQb2hTjqlJHRd6YXRu1goFx417z5iQVujxHnU6a8rR4iuEGv43EsFBVQ8wzn1Pw2oJ6lzQep1doDyJ19oduBzfbKzFDBrVpdFvEoyJuGCwH+fDP80CRqpUATrlp5L41eHUIop/FbJ2POutGsY16STDzrbgZGx57wpge12VMzUCbz6qx6MxnIIAAB9ApaWebWruZNZeM+yv0GBf2wQqSRlFD1LL77tfWviJEaopJAspMJXUvIfIRE7yyuLc0yhnXa6MMjZbVSyvL6ctRyoiomtafp9C6lq+9sLiVYO7k69LbOM1oZ0eyTXxn3mdwJq6y7lTwTxDNYdeqcpQg38coUdGw/VUA50lJU9vUcOqINYjH4VnRgI5rYjrVRKLbvetDfPXQLI1W7il1+WNt6FznkPxxZrzfuWwWW5RBFN5U+epXIpKhAi0OcuwV8Xa+hf9bvl4kW7nNBre30aYJixlm9k4D59pCLh0mxoyVIwjRz1mdA511+mveAIehPtV55Xq7SX8uMHFYWqxGpAv92KiJQjMdokZ3RHx1QLNxVPpsABJcVcTgOs8iKuvU3tvQaDxU6F3yvj9Yhx+kyE073XUsYsj1MyZlhSz3TqWzqFrg7/HmCf1nr09cdEkv5eBSQ39BJv0zvTBrlv8fihQRkA2oIko1UH1QbG7TiQfsZ3/RDlNrizDVHYBr81bIuTVBsyN43mZKTdgaReqQkUaCUmUyKIHXl4i3UeobtIEQzc7OXtIJ4fSqZwIGfc5iejOWUor3hL3ZsZJVHXefCw8ks+/+1e+yXw3RkMFgnbG0mgVMSamLq//mTVhvayqS8e0me8osMpiyF6f/auRlyV2Pt/qZCmfPN96Z0TdeLXYz5cq/CWnkx7nfKSd13ctfzKqvelTcHmqoJ6jgqPLwEzkoFLyq0+x2mWz34JsyHydUQOxLpucUxtxlSaj4mYAaEJI6ZfQGDwtK99fi4ldZF3YLu6yAb33xjF+3VeNi4vsCGzp4m0reT6yvn53+m1UGfv8vK34zi6s6kUIf68Da4HuJMMKt8R0VfTL8sV1OKX0geH8yQx6P6O3OZPUU65eXeYA88EenoAfsSA+ybXjrAQm3GPgyPV4IYA9Zqz8eEnzIBRid0xD8KeKYg08W/8eJJjlteaz/xM7osSUcP039T97g8oIKsTsVRfXQVW3zzie92AdUO0FL7J4FSf6sTlx3PaMhytjJW5t1HZx352jT2eFAP9ukKSQv3V2XhxLchJWPPDrKuUyzKkaBvM5REenV/vKgj/1mbUx+1v6w6g5f9QE7PfiWMWoN4YpTIZFcUX8bbQljBkyLSUGQaEVzO4pvrXWgzOwN7w+2vlO2uAdXYDfzLeR0OaTQpeoZ/bbIzQC0U5QeeYprw9AGydnfr+YXor7grjvJ1LIw9cz4Bi41hedmiCel81Mm5Rr5WQov29D5H9yGlThqrsWxN1jrbg6RVENMM17D+98hni9X4dxgqIoHf2Ek4qSjulkpaQ0vj9eooELqZv14UNoi/zJUwvRQaf6o1hIPESybWdiTgYYBfqPqO7kdzJPpCHSirr+YPZNGAnaOaFlwGnyCye28JBuUYFQgl9jZwzHt0/E/+Jmdv1M57rxNQp6s4vqw9/MB8dmrhiM/SDtpRaZlZNFFVMDJh+k5cQ/PAC5BlNcK/G5rkypDYMdRc7g0DJC4DEU4PSwK0fH+de5TuICJy7CqDDDSLbDNcSPAEOLXDukYWBQygL/hgku6H7ymGFcBy7mG6NyRMlNVNu478/P1NbOtldjnVZpXZPKo6Z7HREgm9EB0SbMOXP49Wl7Gr91SPiKY5LktQDqhPVFyFNTB0/CCfilNdDfSbq4tuSA1sUyZuyEObZBdM0BFZdSF3SlPXy1a71cmS8u4TGgbNQDaG/O1ChHmHu/aO/WwGZ9XXFshCcLkOJitzWDKSVqBTojPcfunzw7m1caSMZt+9xsiTqVPm21+pmDuTIc8IJDHIkQhvGEP3yUXSq1WllwzEk3bt+AB3rUxbW+gnf0XroOChvDg3M9Tsjt0olt6hXhV4Yjq9BFyS1o8zTAe8PfpmeY/GMCeV1SVJgefnJZeXhVYL6E9g6giwNRwkyip7CfZs6GErzTaLrgaG504Lb6zvO6evUDuZa340lXEloTX3xOyxYNgdovWenR/jXS0zV4616spGsrwEWFs9GswdMumc4NexPTqmmTDz58Lr7khZfCfLfXJ4LHBoTRwP68jFqh7QhyCPZ6pvrYsfr81/A6dViXtlO2jrXiogVt5fGc5kTSU7wCA33NDS/Pu5b7wl7UIZYPVSkicWyyTtDU+UTCCKbMPUuXvKlHDu309BHCDLHY4w9Sau523P9RZhPNRpNk+XcnREbZMx5fkfgJ3S7L76IFu96ZFBvmbJ7qceAWc9Ky1Wh21qR/o60uh434Vtzp3ngZZuVbvgLeyguRWWcds2RG9EwjIAwXKySTnnCnqx4YV6jFC+R+N8XAh48bSDP/4hXmj3lQOQxe72mX4IiIM2PmC81YHkvwo+9d2DRKtuNeUSQvVaGjdcRIkUMfK08R+3XaJJ1QPJdHccJdh4tu++3rBJGpU9h5B9oBfEadKIGNPjxfLetIziz7F4Rj4QyPyLUo3LOPM37twqLboEBMUiYsgoAEI6yzUmeke7ZooLYNbL/EyIyLh/3xDpSeSbdBCBj1o3VD5layiL9aCvy6KdmaG7AW91GMZE7YBAh/t7laJsPWmE/bRCxej8x7pU4+7jiI6cgeTUIwrZIs3m9sWG4+ZtYKvzdDxlJ8B4StyFGGoK82OjCVHSwW65/MUexs2F7qnaatCqKJoaUCIrJJQVyIIInZnEACcp3zqCzMFIMZQ7d748TN0zEctnwmbx1c1dtRFUbNOv9vsPhBSaQM4ULQY5ia+Fc5Rm3YWJXus9G+XlnJps7yi/655nfQJ+1l3Xi5nYGafCqrQhEZVXQpcorYavpLGXTy1hEbWWsHkfBYNqw4rhpgj9UYiE1/yyKXFB2TDIm/W+4zNHIkoGwpGiCztohikksTAMOXO/q3M50+rUIyy3CDiITpA70DCHaXDDkkzvrbzFIfwtd6BT+EG4XkzwfzlCG8Xc6heZn0e/pgn73eSHHGhULRLACXgUr8FpT17FHvuVZNsOJS+YtA6aFGo1qYaZTQlgXIB6/jUot0gx9ivzUkMQbMbenk+LoTx5C+c+c66JEAwpKi5aKWG1dyG3qaNxYiY5R8IK+f4+UMJ0lA759RuXWEi0N+mdw6dBAzN3uhgpA7khhxF7g7U6QITGkfhptBmdbXWbhq80DUfIYCrzyCz98NaAjUpyUKh7Zg0Os8moQZaFGiU03VpFnUWzX4FOM3Yysrw21lVYAMT2YrnYxzr82avr6CDlTlDRXycvME0LmGRd5opRu/AN7d3ohPSWLtxwcBQm/efGRDuBQa53gwuw8ksVBplznCtfUj38ixLdhBFVI8AxBj2bcPg6UAIUdlXU2pS0WZLbUW42FbsuWKxQ4MPFphMd/EkXPFGHFBQMYwqlSYiysvDuUEriBfoJA1djiiIolOnwCfobHL0m9arbMfxG9js40a0qwiHCARIW5ycq9pTlVubd21v9xc9HdzwYs/2HgiK8gNSwEl0mzGW+r3b5kwPGeZK0DYPeLXP6AwmzXaNnN9XX5V2+6CEh8lNiPM9kNPAHwevMSU5iscKHc2lew56qq/3XTNXY83Z6e8A+v20Jn3cAoWeo7mpsBunNqm/K4QUB1x9d5Tm7VuBBDKq6Y8biE+8RQStQcAsOowKjL/HT05niCpoyfySGBwZF0TPlMk1DI0og+QGBwBCw9CiD+faBmhevtnZmL8z2VhlvesjZD6yQ/6W3r9YfJdowWiuoCvzblhOnZY7+OY3S1VrOwMQNmAxIMHSv9Y1+Aum3CtcAc3aN+x60oHdGoO4R6kYK2wCENmZ1gF1MgBrA4aVZxWDZRQrZGZG9SnNkHk63xJGydUnRmOd126taQZEd6zPLyLEeT659UFe2hP6X9WcApo+YkI2gh0sjFro9Tp2XanNs6bWESSB/AhzjuDYdLkEeR6tV07V0KpTXLHJwceD/RxopiQOM6ld7HVSL8gozx9N77MuzHNPAl1rQcAjJ6VeYJKDbP4peuf8LPXyad5wbGdfCW1CP0PuLKa81Y9JO9EGKcb2Q/UKzz8CjpBFiJkB3/dTlU5XH40cpFbiwXyWZTfzZiLkkjqhQYPkm3KKWAX/x3Jn/fRVrlXI2JK+pc2/XD0i7+NZiAKR665yqmvMJsvGLjSq64kOzqKRF9B2Dc2RP/HecfMF3OiVAKNIweW+ErQx1wwF1e4i+avR5xjcdPInMHzjgpUEg4DfwxE3AbrM6cHJOi7yDqMQ4WIvtTHAioMe6KGxToaPksye9ejf2zYd+4DwC0mtOCJVVRH3XzQBWM+6DzaM9l0JGfhIZ4O6s4FPnos1Xdq6H/lHX993g0zYfG6b/eH4G/bu8q8QqQFH7yCbBaOnRwDdQNRY1i0ARzZQO/w/V0tHiBWrfixJsC7CxoFtf/fGwwidOBPxrt9NM7tSxDsh6YwafcntzJrkzlnMZUsNo344SGZSFnC6Q52Rx3MtBxRgz92TBg2PQY/n1MCxcHnTJPzAzHssS2TvGZyVJBtZJiOq+Qix+r2lV+MditWgTNmlZoT3Oo5TKWwz0s9COTvNMQo83+8RodaQZ/sqpvOTvpCONG8IeuFIKT6ostX8LcxtzZC1f4G/I2m/sKG3ulZWdjIrwLOXaDQUfaDLQV0p2dst2DGXTg4xMMzXzfAEpUhhtP1hKkVP2HyueHfoje8+6Kcbst9PC09pfuxVVn0yKCrEqPQMuVR/f6qbaxIUsyzmphyj8nLfcYeaMZHoDR6p3PZYUOsTajgiHxLSBv2WTI69xkrIunS2CIKcS1aa2EVmCXvx9Tb6DgQgvvRaCzjt9nsh5Z5V+9yiVuOCb4oGhspZasFnja8wLz9XNJTfBTwmDOuZX5bp/YK0RVgK8pRxXnJrqNIuMGkGqiW/xazHm1LdzloteP2y9fLku9ZyCgve7cpLIyOp6YtTBkHKPYypmj5yF6p9ViI0r2Pn0/UfmtaKzb7MMxQ+wF586GPUjDwjH+nNb0MldF/kBAYfBxtZQvKGIaeCqbtgMxO9CNXYxF4+xcoRH2dp6gylD+E0prappPk/+8epEGu9Jyz9mQVN5U22i0t1JhWsWYZ1BYqqhsjtJHIn7irRF8KlPa4vXNczea0h3BPWb+K/33UlJMs3/LtKnVMO0Y8ZKrjT8G1Ecy9Br4YwJ/0ww01LC6uYrusRDTbom0pFluaZfrq+2lWXFtBjwxK7rqvmpq6ELk27D2yCIkxDzx7wXj+cvPJiQQJMN5wG6wsV7zrVIhgmYiluxvAdlPsrGb+F66JPuBU3F/G6B3Aci/H1SXP2El3w04Hyd26EmtQAH4WKbvCktpnZTo+WJnJouAAd5HIfSrV7otx/8If1ZQbkyrSakyWlMF3jLYXkbmH5EqkvJrYyUz4tmu/FOiw7DqPZpilpbCdqEmjcBKWhs1Tt+5MSnjTJ4GtkG37slyTbK40Dbm8BwBR8yZZFUXfbsXAY/NOfG3Q113zT/QnphCV6diWOZ3JHsCfu42cFsbx/CQPU9Xq2cYEdMdQvHrTezCs0t10C7j4YXi54DLjDKsyN0jHredsF5hMjZ9J9jBjHLrvyiy0+ebzKVk4HRPFQ9rh/XGo67m6wjVyF+w4QoReyGY33gCGDqyGuZplxjRQu1lLe+Csysok8IsSSX3T/Iy8QVhnmyb41A1a56JeEisHT1VCeDQuWpe+U18jjzxficvtfA0N0ic58GGXswf6w3wStt2JS/f6oJpkSUbTfEnBd/8Rx5KR3GovnikINHQK20cUD2irllvhgROlxrnJVkljx6CUTCNgmQUXOvMJ4pPlNHInrkU/UGSv0HvOxvZ6GVFUhLOhEg974UyuTFB4+Bv43JeD9l7cabCUQbluCxTMkXVDyn9rI8mAFSNwIEqqlhLxtWRw3EMJOASMA1JQpDJqtCzhen0l7BOBUWl1qq9nasH5Nu/MD1lxQTXnoA0C5JvXneMZB+5JcncQ/Sm15N/FvyMZ8CUMai9lC2WYJ8AVF/ZkQa1801Fpj0+tJyz6juCSZNY3Y5mCArEpQ/M+kmcar1ClpuO2cgK2pjTzgfy0VnIUMx3PKlElTr7aeVJL/0HI4IFP+dlqUUyaZYGOfOjW108rLMrelAp1Yf+StBKDHomrWXjkbAJ4kZlsxICJ6crQK9mXb01NmheN1daUHKwqXpKyM7A2ohBhCNXacjnP7rFEFw3cQdPsnj1BCaIeitYDm122pjPAfBtQGIpF3dUdmAE5MVAGAg==" title="Mekko Graphics Chart">
            <a:extLst>
              <a:ext uri="{FF2B5EF4-FFF2-40B4-BE49-F238E27FC236}">
                <a16:creationId xmlns:a16="http://schemas.microsoft.com/office/drawing/2014/main" id="{99FE2765-97D8-2EF7-89D9-6A4D4004E470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3810095" y="1781220"/>
            <a:ext cx="4314933" cy="4528230"/>
          </a:xfrm>
          <a:prstGeom prst="rect">
            <a:avLst/>
          </a:prstGeom>
          <a:blipFill>
            <a:blip r:embed="rId17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1776" tIns="31776" rIns="31776" bIns="31776" rtlCol="0" anchor="ctr"/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btfpNotesBox255075">
            <a:extLst>
              <a:ext uri="{FF2B5EF4-FFF2-40B4-BE49-F238E27FC236}">
                <a16:creationId xmlns:a16="http://schemas.microsoft.com/office/drawing/2014/main" id="{6F40655E-3987-4973-9F3A-9DCB55607EBB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339529" y="6309450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No ads by Peer 1 and Peer 5 in the UK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Meta Ads Library</a:t>
            </a:r>
          </a:p>
        </p:txBody>
      </p:sp>
      <p:grpSp>
        <p:nvGrpSpPr>
          <p:cNvPr id="44" name="btfpRunningAgenda2Level294467">
            <a:extLst>
              <a:ext uri="{FF2B5EF4-FFF2-40B4-BE49-F238E27FC236}">
                <a16:creationId xmlns:a16="http://schemas.microsoft.com/office/drawing/2014/main" id="{CCC77AC3-7828-6388-C4DA-A8C8E610E45D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0" y="944429"/>
            <a:ext cx="3737297" cy="257442"/>
            <a:chOff x="0" y="876300"/>
            <a:chExt cx="3737297" cy="257442"/>
          </a:xfrm>
        </p:grpSpPr>
        <p:sp>
          <p:nvSpPr>
            <p:cNvPr id="45" name="btfpRunningAgenda2LevelBarLeft294467">
              <a:extLst>
                <a:ext uri="{FF2B5EF4-FFF2-40B4-BE49-F238E27FC236}">
                  <a16:creationId xmlns:a16="http://schemas.microsoft.com/office/drawing/2014/main" id="{B21ED874-6B42-FF69-CBA7-B202702CE40C}"/>
                </a:ext>
              </a:extLst>
            </p:cNvPr>
            <p:cNvSpPr/>
            <p:nvPr/>
          </p:nvSpPr>
          <p:spPr bwMode="gray">
            <a:xfrm>
              <a:off x="1" y="876300"/>
              <a:ext cx="2592724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20719 w 1120719"/>
                <a:gd name="connsiteY0" fmla="*/ 0 h 257442"/>
                <a:gd name="connsiteX1" fmla="*/ 888065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289034 w 1289034"/>
                <a:gd name="connsiteY0" fmla="*/ 0 h 257442"/>
                <a:gd name="connsiteX1" fmla="*/ 1065998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390025 w 1390025"/>
                <a:gd name="connsiteY0" fmla="*/ 0 h 257442"/>
                <a:gd name="connsiteX1" fmla="*/ 1234313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4 w 1390024"/>
                <a:gd name="connsiteY0" fmla="*/ 0 h 257442"/>
                <a:gd name="connsiteX1" fmla="*/ 1335303 w 1390024"/>
                <a:gd name="connsiteY1" fmla="*/ 257442 h 257442"/>
                <a:gd name="connsiteX2" fmla="*/ 0 w 1390024"/>
                <a:gd name="connsiteY2" fmla="*/ 257442 h 257442"/>
                <a:gd name="connsiteX3" fmla="*/ 0 w 1390024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1 w 1390025"/>
                <a:gd name="connsiteY2" fmla="*/ 257442 h 257442"/>
                <a:gd name="connsiteX3" fmla="*/ 0 w 1390025"/>
                <a:gd name="connsiteY3" fmla="*/ 0 h 257442"/>
                <a:gd name="connsiteX0" fmla="*/ 1558340 w 1558340"/>
                <a:gd name="connsiteY0" fmla="*/ 0 h 257442"/>
                <a:gd name="connsiteX1" fmla="*/ 1335304 w 1558340"/>
                <a:gd name="connsiteY1" fmla="*/ 257442 h 257442"/>
                <a:gd name="connsiteX2" fmla="*/ 1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1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0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0 w 1558340"/>
                <a:gd name="connsiteY2" fmla="*/ 257442 h 257442"/>
                <a:gd name="connsiteX3" fmla="*/ 0 w 1558340"/>
                <a:gd name="connsiteY3" fmla="*/ 0 h 257442"/>
                <a:gd name="connsiteX0" fmla="*/ 1710625 w 1710625"/>
                <a:gd name="connsiteY0" fmla="*/ 0 h 257442"/>
                <a:gd name="connsiteX1" fmla="*/ 1503618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808857 w 1808857"/>
                <a:gd name="connsiteY0" fmla="*/ 0 h 257442"/>
                <a:gd name="connsiteX1" fmla="*/ 1655904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994805 w 1994805"/>
                <a:gd name="connsiteY0" fmla="*/ 0 h 257442"/>
                <a:gd name="connsiteX1" fmla="*/ 1754136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2155105 w 2155105"/>
                <a:gd name="connsiteY0" fmla="*/ 0 h 257442"/>
                <a:gd name="connsiteX1" fmla="*/ 19400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323420 w 2323420"/>
                <a:gd name="connsiteY0" fmla="*/ 0 h 257442"/>
                <a:gd name="connsiteX1" fmla="*/ 2100384 w 2323420"/>
                <a:gd name="connsiteY1" fmla="*/ 257442 h 257442"/>
                <a:gd name="connsiteX2" fmla="*/ 0 w 2323420"/>
                <a:gd name="connsiteY2" fmla="*/ 257442 h 257442"/>
                <a:gd name="connsiteX3" fmla="*/ 0 w 2323420"/>
                <a:gd name="connsiteY3" fmla="*/ 0 h 257442"/>
                <a:gd name="connsiteX0" fmla="*/ 2323420 w 2323420"/>
                <a:gd name="connsiteY0" fmla="*/ 0 h 257442"/>
                <a:gd name="connsiteX1" fmla="*/ 2268698 w 2323420"/>
                <a:gd name="connsiteY1" fmla="*/ 257442 h 257442"/>
                <a:gd name="connsiteX2" fmla="*/ 0 w 2323420"/>
                <a:gd name="connsiteY2" fmla="*/ 257442 h 257442"/>
                <a:gd name="connsiteX3" fmla="*/ 0 w 2323420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1 w 2323421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1 w 2323421"/>
                <a:gd name="connsiteY3" fmla="*/ 0 h 257442"/>
                <a:gd name="connsiteX0" fmla="*/ 2424411 w 2424411"/>
                <a:gd name="connsiteY0" fmla="*/ 0 h 257442"/>
                <a:gd name="connsiteX1" fmla="*/ 2268699 w 2424411"/>
                <a:gd name="connsiteY1" fmla="*/ 257442 h 257442"/>
                <a:gd name="connsiteX2" fmla="*/ 0 w 2424411"/>
                <a:gd name="connsiteY2" fmla="*/ 257442 h 257442"/>
                <a:gd name="connsiteX3" fmla="*/ 1 w 2424411"/>
                <a:gd name="connsiteY3" fmla="*/ 0 h 257442"/>
                <a:gd name="connsiteX0" fmla="*/ 2424411 w 2424411"/>
                <a:gd name="connsiteY0" fmla="*/ 0 h 257442"/>
                <a:gd name="connsiteX1" fmla="*/ 2369690 w 2424411"/>
                <a:gd name="connsiteY1" fmla="*/ 257442 h 257442"/>
                <a:gd name="connsiteX2" fmla="*/ 0 w 2424411"/>
                <a:gd name="connsiteY2" fmla="*/ 257442 h 257442"/>
                <a:gd name="connsiteX3" fmla="*/ 1 w 2424411"/>
                <a:gd name="connsiteY3" fmla="*/ 0 h 257442"/>
                <a:gd name="connsiteX0" fmla="*/ 2424410 w 2424410"/>
                <a:gd name="connsiteY0" fmla="*/ 0 h 257442"/>
                <a:gd name="connsiteX1" fmla="*/ 2369689 w 2424410"/>
                <a:gd name="connsiteY1" fmla="*/ 257442 h 257442"/>
                <a:gd name="connsiteX2" fmla="*/ 0 w 2424410"/>
                <a:gd name="connsiteY2" fmla="*/ 257442 h 257442"/>
                <a:gd name="connsiteX3" fmla="*/ 0 w 2424410"/>
                <a:gd name="connsiteY3" fmla="*/ 0 h 257442"/>
                <a:gd name="connsiteX0" fmla="*/ 2424411 w 2424411"/>
                <a:gd name="connsiteY0" fmla="*/ 0 h 257442"/>
                <a:gd name="connsiteX1" fmla="*/ 2369690 w 2424411"/>
                <a:gd name="connsiteY1" fmla="*/ 257442 h 257442"/>
                <a:gd name="connsiteX2" fmla="*/ 1 w 2424411"/>
                <a:gd name="connsiteY2" fmla="*/ 257442 h 257442"/>
                <a:gd name="connsiteX3" fmla="*/ 0 w 2424411"/>
                <a:gd name="connsiteY3" fmla="*/ 0 h 257442"/>
                <a:gd name="connsiteX0" fmla="*/ 2592725 w 2592725"/>
                <a:gd name="connsiteY0" fmla="*/ 0 h 257442"/>
                <a:gd name="connsiteX1" fmla="*/ 2369690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4 w 2592724"/>
                <a:gd name="connsiteY0" fmla="*/ 0 h 257442"/>
                <a:gd name="connsiteX1" fmla="*/ 2538003 w 2592724"/>
                <a:gd name="connsiteY1" fmla="*/ 257442 h 257442"/>
                <a:gd name="connsiteX2" fmla="*/ 0 w 2592724"/>
                <a:gd name="connsiteY2" fmla="*/ 257442 h 257442"/>
                <a:gd name="connsiteX3" fmla="*/ 0 w 259272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92724" h="257442">
                  <a:moveTo>
                    <a:pt x="2592724" y="0"/>
                  </a:moveTo>
                  <a:lnTo>
                    <a:pt x="2538003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6" name="btfpRunningAgenda2LevelTextLeft294467">
              <a:extLst>
                <a:ext uri="{FF2B5EF4-FFF2-40B4-BE49-F238E27FC236}">
                  <a16:creationId xmlns:a16="http://schemas.microsoft.com/office/drawing/2014/main" id="{43B6C30D-A18F-B4FB-CCCC-36D60A02B512}"/>
                </a:ext>
              </a:extLst>
            </p:cNvPr>
            <p:cNvSpPr txBox="1"/>
            <p:nvPr/>
          </p:nvSpPr>
          <p:spPr bwMode="gray">
            <a:xfrm>
              <a:off x="0" y="876300"/>
              <a:ext cx="2538003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Social media</a:t>
              </a:r>
            </a:p>
          </p:txBody>
        </p:sp>
        <p:sp>
          <p:nvSpPr>
            <p:cNvPr id="47" name="btfpRunningAgenda2LevelBarRight294467">
              <a:extLst>
                <a:ext uri="{FF2B5EF4-FFF2-40B4-BE49-F238E27FC236}">
                  <a16:creationId xmlns:a16="http://schemas.microsoft.com/office/drawing/2014/main" id="{6A7748C1-D676-1B44-2D49-F5EFE949174F}"/>
                </a:ext>
              </a:extLst>
            </p:cNvPr>
            <p:cNvSpPr/>
            <p:nvPr/>
          </p:nvSpPr>
          <p:spPr bwMode="gray">
            <a:xfrm>
              <a:off x="2457881" y="876300"/>
              <a:ext cx="1279416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2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9416" h="257442">
                  <a:moveTo>
                    <a:pt x="1279416" y="0"/>
                  </a:moveTo>
                  <a:lnTo>
                    <a:pt x="1224695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8" name="btfpRunningAgenda2LevelTextRight294467">
              <a:extLst>
                <a:ext uri="{FF2B5EF4-FFF2-40B4-BE49-F238E27FC236}">
                  <a16:creationId xmlns:a16="http://schemas.microsoft.com/office/drawing/2014/main" id="{B48BD7A3-7E88-CBD7-8783-E97AB007D908}"/>
                </a:ext>
              </a:extLst>
            </p:cNvPr>
            <p:cNvSpPr txBox="1"/>
            <p:nvPr/>
          </p:nvSpPr>
          <p:spPr bwMode="gray">
            <a:xfrm>
              <a:off x="2457881" y="876300"/>
              <a:ext cx="122469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ads</a:t>
              </a:r>
            </a:p>
          </p:txBody>
        </p: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AAEA68A9-4B27-7B8A-E7BF-D219AD43A6A1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" y="943519"/>
            <a:ext cx="260604" cy="260604"/>
          </a:xfrm>
          <a:prstGeom prst="rect">
            <a:avLst/>
          </a:prstGeom>
        </p:spPr>
      </p:pic>
      <p:sp>
        <p:nvSpPr>
          <p:cNvPr id="52" name="btfpBulletedList651135">
            <a:extLst>
              <a:ext uri="{FF2B5EF4-FFF2-40B4-BE49-F238E27FC236}">
                <a16:creationId xmlns:a16="http://schemas.microsoft.com/office/drawing/2014/main" id="{AECD22EE-F70D-8EDE-06D1-7354E8CBEED9}"/>
              </a:ext>
            </a:extLst>
          </p:cNvPr>
          <p:cNvSpPr txBox="1"/>
          <p:nvPr>
            <p:custDataLst>
              <p:tags r:id="rId10"/>
            </p:custDataLst>
          </p:nvPr>
        </p:nvSpPr>
        <p:spPr bwMode="gray">
          <a:xfrm>
            <a:off x="8564952" y="1735730"/>
            <a:ext cx="3296848" cy="399685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r>
              <a:rPr lang="en-US" sz="1100" b="1" dirty="0"/>
              <a:t>Target positioned #2 </a:t>
            </a:r>
            <a:r>
              <a:rPr lang="en-US" sz="1100" dirty="0"/>
              <a:t>on # of ads with </a:t>
            </a:r>
            <a:r>
              <a:rPr lang="en-US" sz="1100" b="1" dirty="0"/>
              <a:t>~336 ads </a:t>
            </a:r>
            <a:r>
              <a:rPr lang="en-US" sz="1100" dirty="0"/>
              <a:t>in LTM, Peer 3 leads with ~451 ads</a:t>
            </a:r>
          </a:p>
          <a:p>
            <a:pPr lvl="1"/>
            <a:r>
              <a:rPr lang="en-US" sz="900" dirty="0"/>
              <a:t>Peer 3 advertises across a spectrum of its </a:t>
            </a:r>
            <a:r>
              <a:rPr lang="en-US" sz="900" b="1" dirty="0"/>
              <a:t>diverse offerings </a:t>
            </a:r>
            <a:r>
              <a:rPr lang="en-US" sz="900" dirty="0"/>
              <a:t>including accessories (jewelry), dress and eyewear.</a:t>
            </a:r>
          </a:p>
          <a:p>
            <a:pPr lvl="1"/>
            <a:r>
              <a:rPr lang="en-US" sz="900" dirty="0"/>
              <a:t>Scope for Target to </a:t>
            </a:r>
            <a:r>
              <a:rPr lang="en-US" sz="900" b="1" dirty="0"/>
              <a:t>strategize </a:t>
            </a:r>
            <a:r>
              <a:rPr lang="en-US" sz="900" dirty="0"/>
              <a:t>campaigns by </a:t>
            </a:r>
            <a:r>
              <a:rPr lang="en-US" sz="900" b="1" dirty="0"/>
              <a:t>advertising a few of its other product lines </a:t>
            </a:r>
            <a:r>
              <a:rPr lang="en-US" sz="900" dirty="0"/>
              <a:t>such as clothing, accessories, and kids' and maternity collections.</a:t>
            </a:r>
          </a:p>
          <a:p>
            <a:r>
              <a:rPr lang="en-US" sz="1100" dirty="0"/>
              <a:t>Target </a:t>
            </a:r>
            <a:r>
              <a:rPr lang="en-US" sz="1100" b="1" dirty="0"/>
              <a:t>depends heavily on static format (~94%)</a:t>
            </a:r>
            <a:r>
              <a:rPr lang="en-US" sz="1100" dirty="0"/>
              <a:t> with only ~6% being video ads.</a:t>
            </a:r>
          </a:p>
          <a:p>
            <a:pPr lvl="1"/>
            <a:r>
              <a:rPr lang="en-US" sz="900" dirty="0"/>
              <a:t>Scope to focus on </a:t>
            </a:r>
            <a:r>
              <a:rPr lang="en-US" sz="900" b="1" dirty="0"/>
              <a:t>video ads </a:t>
            </a:r>
            <a:r>
              <a:rPr lang="en-US" sz="900" dirty="0"/>
              <a:t>which offer </a:t>
            </a:r>
            <a:r>
              <a:rPr lang="en-US" sz="900" b="1" dirty="0"/>
              <a:t>story-telling </a:t>
            </a:r>
            <a:r>
              <a:rPr lang="en-US" sz="900" dirty="0"/>
              <a:t>opportunity to </a:t>
            </a:r>
            <a:r>
              <a:rPr lang="en-US" sz="900" b="1" dirty="0"/>
              <a:t>engage </a:t>
            </a:r>
            <a:r>
              <a:rPr lang="en-US" sz="900" dirty="0"/>
              <a:t>with the audience and consequently lead to </a:t>
            </a:r>
            <a:r>
              <a:rPr lang="en-US" sz="900" b="1" dirty="0"/>
              <a:t>improved conversion </a:t>
            </a:r>
            <a:r>
              <a:rPr lang="en-US" sz="900" dirty="0"/>
              <a:t>rates.</a:t>
            </a:r>
          </a:p>
          <a:p>
            <a:r>
              <a:rPr lang="en-US" sz="1100" dirty="0"/>
              <a:t>Scope for Target to incorporate </a:t>
            </a:r>
            <a:r>
              <a:rPr lang="en-US" sz="1100" b="1" dirty="0"/>
              <a:t>carousel ads</a:t>
            </a:r>
            <a:r>
              <a:rPr lang="en-US" sz="1100" dirty="0"/>
              <a:t> in ad campaigns as a method to showcase product offerings and features across collection. </a:t>
            </a:r>
          </a:p>
          <a:p>
            <a:pPr lvl="1"/>
            <a:r>
              <a:rPr lang="en-GB" sz="900" dirty="0"/>
              <a:t>Carousel ads features multiple scrollable pictures that lead the user to different landing pages, helping in increasing click-through-rates</a:t>
            </a:r>
          </a:p>
          <a:p>
            <a:pPr marL="0" indent="0">
              <a:buNone/>
            </a:pPr>
            <a:endParaRPr lang="en-GB" sz="11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17051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D5E82E7F-A917-1C34-364B-85CA40FE51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E82E7F-A917-1C34-364B-85CA40FE51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" name="btfpColumnIndicatorGroup2">
            <a:extLst>
              <a:ext uri="{FF2B5EF4-FFF2-40B4-BE49-F238E27FC236}">
                <a16:creationId xmlns:a16="http://schemas.microsoft.com/office/drawing/2014/main" id="{E0317827-7FC8-5622-A868-E4A8D9591638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4" name="btfpColumnGapBlocker606520">
              <a:extLst>
                <a:ext uri="{FF2B5EF4-FFF2-40B4-BE49-F238E27FC236}">
                  <a16:creationId xmlns:a16="http://schemas.microsoft.com/office/drawing/2014/main" id="{BC6062F4-99D1-5791-2B1A-A0E27F0800D5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0" name="btfpColumnGapBlocker608648">
              <a:extLst>
                <a:ext uri="{FF2B5EF4-FFF2-40B4-BE49-F238E27FC236}">
                  <a16:creationId xmlns:a16="http://schemas.microsoft.com/office/drawing/2014/main" id="{344B802D-6847-91E1-971E-810102B800F2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7" name="btfpColumnIndicator168001">
              <a:extLst>
                <a:ext uri="{FF2B5EF4-FFF2-40B4-BE49-F238E27FC236}">
                  <a16:creationId xmlns:a16="http://schemas.microsoft.com/office/drawing/2014/main" id="{1D06B41A-8E1A-612D-9F1D-3ECC2DC8432F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btfpColumnIndicator418044">
              <a:extLst>
                <a:ext uri="{FF2B5EF4-FFF2-40B4-BE49-F238E27FC236}">
                  <a16:creationId xmlns:a16="http://schemas.microsoft.com/office/drawing/2014/main" id="{6C36FAD1-D9F4-CF83-D1F3-2C029EC0D47F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btfpColumnIndicatorGroup1">
            <a:extLst>
              <a:ext uri="{FF2B5EF4-FFF2-40B4-BE49-F238E27FC236}">
                <a16:creationId xmlns:a16="http://schemas.microsoft.com/office/drawing/2014/main" id="{60107EC9-8B13-03DF-C427-D6677524715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2" name="btfpColumnGapBlocker595115">
              <a:extLst>
                <a:ext uri="{FF2B5EF4-FFF2-40B4-BE49-F238E27FC236}">
                  <a16:creationId xmlns:a16="http://schemas.microsoft.com/office/drawing/2014/main" id="{D42D302D-40C9-64E5-AB77-7CCFFEB9EDD0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8" name="btfpColumnGapBlocker542630">
              <a:extLst>
                <a:ext uri="{FF2B5EF4-FFF2-40B4-BE49-F238E27FC236}">
                  <a16:creationId xmlns:a16="http://schemas.microsoft.com/office/drawing/2014/main" id="{6E721527-734F-E671-46D0-038C280096BE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btfpColumnIndicator198722">
              <a:extLst>
                <a:ext uri="{FF2B5EF4-FFF2-40B4-BE49-F238E27FC236}">
                  <a16:creationId xmlns:a16="http://schemas.microsoft.com/office/drawing/2014/main" id="{6FED782F-8CBF-3569-521C-8E0441DA4DE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btfpColumnIndicator154001">
              <a:extLst>
                <a:ext uri="{FF2B5EF4-FFF2-40B4-BE49-F238E27FC236}">
                  <a16:creationId xmlns:a16="http://schemas.microsoft.com/office/drawing/2014/main" id="{EB5A9E80-5F3A-2C55-F77C-D7962F12D72A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" name="Table 10">
            <a:extLst>
              <a:ext uri="{FF2B5EF4-FFF2-40B4-BE49-F238E27FC236}">
                <a16:creationId xmlns:a16="http://schemas.microsoft.com/office/drawing/2014/main" id="{CB1F7A2E-8AEC-46DF-AC9C-C19C73CF146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43971590"/>
              </p:ext>
            </p:extLst>
          </p:nvPr>
        </p:nvGraphicFramePr>
        <p:xfrm>
          <a:off x="335278" y="1350878"/>
          <a:ext cx="11509977" cy="53601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60704">
                  <a:extLst>
                    <a:ext uri="{9D8B030D-6E8A-4147-A177-3AD203B41FA5}">
                      <a16:colId xmlns:a16="http://schemas.microsoft.com/office/drawing/2014/main" val="3265791260"/>
                    </a:ext>
                  </a:extLst>
                </a:gridCol>
                <a:gridCol w="1903399">
                  <a:extLst>
                    <a:ext uri="{9D8B030D-6E8A-4147-A177-3AD203B41FA5}">
                      <a16:colId xmlns:a16="http://schemas.microsoft.com/office/drawing/2014/main" val="193002952"/>
                    </a:ext>
                  </a:extLst>
                </a:gridCol>
                <a:gridCol w="4535936">
                  <a:extLst>
                    <a:ext uri="{9D8B030D-6E8A-4147-A177-3AD203B41FA5}">
                      <a16:colId xmlns:a16="http://schemas.microsoft.com/office/drawing/2014/main" val="403952784"/>
                    </a:ext>
                  </a:extLst>
                </a:gridCol>
                <a:gridCol w="4009938">
                  <a:extLst>
                    <a:ext uri="{9D8B030D-6E8A-4147-A177-3AD203B41FA5}">
                      <a16:colId xmlns:a16="http://schemas.microsoft.com/office/drawing/2014/main" val="1454322158"/>
                    </a:ext>
                  </a:extLst>
                </a:gridCol>
              </a:tblGrid>
              <a:tr h="187844">
                <a:tc>
                  <a:txBody>
                    <a:bodyPr/>
                    <a:lstStyle/>
                    <a:p>
                      <a:pPr marL="0" marR="0" lvl="0" indent="0" algn="l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ey Criteria</a:t>
                      </a:r>
                    </a:p>
                  </a:txBody>
                  <a:tcPr marR="6074" marT="6074" marB="0" anchor="ctr"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Description</a:t>
                      </a:r>
                    </a:p>
                  </a:txBody>
                  <a:tcPr marR="6074" marT="6074" marB="0" anchor="ctr"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Target</a:t>
                      </a:r>
                    </a:p>
                  </a:txBody>
                  <a:tcPr marR="6074" marT="6074" marB="0" anchor="ctr"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Best practices/ Competitor Examples</a:t>
                      </a:r>
                    </a:p>
                  </a:txBody>
                  <a:tcPr marR="6074" marT="6074" marB="0" anchor="ctr"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1147381"/>
                  </a:ext>
                </a:extLst>
              </a:tr>
              <a:tr h="1463534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GB" sz="1400" b="1">
                          <a:solidFill>
                            <a:schemeClr val="tx1"/>
                          </a:solidFill>
                        </a:rPr>
                        <a:t>Emotion</a:t>
                      </a:r>
                    </a:p>
                  </a:txBody>
                  <a:tcPr marR="6074" marT="9144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GB" sz="900" i="1"/>
                        <a:t>Does the creative focus on evoking emotion?</a:t>
                      </a:r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543050" lvl="8" indent="-120650">
                        <a:spcBef>
                          <a:spcPts val="300"/>
                        </a:spcBef>
                        <a:buFontTx/>
                        <a:buChar char="•"/>
                      </a:pPr>
                      <a:r>
                        <a:rPr lang="en-US" sz="900" dirty="0"/>
                        <a:t>Effectively uses creatives </a:t>
                      </a:r>
                      <a:r>
                        <a:rPr lang="en-US" sz="900" b="0" dirty="0"/>
                        <a:t>to </a:t>
                      </a:r>
                      <a:r>
                        <a:rPr lang="en-US" sz="900" b="1" dirty="0"/>
                        <a:t>capture viewer attention and associability/ nostalgia; </a:t>
                      </a:r>
                      <a:r>
                        <a:rPr lang="en-US" sz="900" b="0" dirty="0"/>
                        <a:t>for e.g.- Target promoted a product by linking it to a 1990 American TV series- </a:t>
                      </a:r>
                      <a:r>
                        <a:rPr lang="en-US" sz="900" b="0" i="1" dirty="0"/>
                        <a:t>“Channel your inner Baywatch babe in our Square Neck Swim”</a:t>
                      </a:r>
                    </a:p>
                    <a:p>
                      <a:pPr marL="1543050" lvl="8" indent="-120650">
                        <a:spcBef>
                          <a:spcPts val="300"/>
                        </a:spcBef>
                        <a:buFontTx/>
                        <a:buChar char="•"/>
                      </a:pPr>
                      <a:r>
                        <a:rPr lang="en-US" sz="900" b="1" i="0" dirty="0"/>
                        <a:t>Creatives highlight exclusivity by collaborations</a:t>
                      </a:r>
                      <a:r>
                        <a:rPr lang="en-US" sz="900" b="0" i="0" dirty="0"/>
                        <a:t> with models/ brands like Helena Christensen, Rose Inc.</a:t>
                      </a:r>
                    </a:p>
                    <a:p>
                      <a:pPr marL="1543050" lvl="8" indent="-120650" algn="l" defTabSz="711200" rtl="0" eaLnBrk="1" latinLnBrk="0" hangingPunct="1">
                        <a:spcBef>
                          <a:spcPts val="300"/>
                        </a:spcBef>
                        <a:buFontTx/>
                        <a:buChar char="•"/>
                      </a:pPr>
                      <a:r>
                        <a:rPr lang="en-US" sz="9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s also </a:t>
                      </a:r>
                      <a:r>
                        <a:rPr lang="en-US" sz="900" b="1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voke a sense of rememberability and belonging by highlighting it’s 40-year long presence </a:t>
                      </a:r>
                      <a:r>
                        <a:rPr lang="en-US" sz="9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rough captions like “</a:t>
                      </a:r>
                      <a:r>
                        <a:rPr lang="en-US" sz="9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yle that transcends decades. Back from the Target archives, discover the Solitaire Swim</a:t>
                      </a:r>
                      <a:r>
                        <a:rPr lang="en-US" sz="9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  <a:endParaRPr lang="en-US" sz="900" b="0" i="0" dirty="0"/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591056" lvl="1" indent="-17780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Peer 5 attempts at building </a:t>
                      </a:r>
                      <a:r>
                        <a:rPr lang="en-US" sz="900" b="1" dirty="0"/>
                        <a:t>an emotional connect </a:t>
                      </a:r>
                      <a:r>
                        <a:rPr lang="en-US" sz="900" b="0" dirty="0"/>
                        <a:t>that helps in </a:t>
                      </a:r>
                      <a:r>
                        <a:rPr lang="en-US" sz="900" b="1" dirty="0"/>
                        <a:t>creating a strong brand USP, new product launches and memorability</a:t>
                      </a:r>
                      <a:r>
                        <a:rPr lang="en-US" sz="900" b="0" dirty="0"/>
                        <a:t>; for e.g.- The brand rolled out an ad communicating </a:t>
                      </a:r>
                      <a:r>
                        <a:rPr lang="en-US" sz="900" b="0" i="1" dirty="0"/>
                        <a:t>“Designs made to enhance natural beauty at every stage of life” </a:t>
                      </a:r>
                      <a:r>
                        <a:rPr lang="en-US" sz="900" b="0" i="0" dirty="0"/>
                        <a:t>showcasing a pregnant woman</a:t>
                      </a:r>
                      <a:endParaRPr lang="en-US" sz="900" b="0" dirty="0"/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6396346"/>
                  </a:ext>
                </a:extLst>
              </a:tr>
              <a:tr h="1712803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GB" sz="1400" b="1">
                          <a:solidFill>
                            <a:schemeClr val="tx1"/>
                          </a:solidFill>
                        </a:rPr>
                        <a:t>Understandable</a:t>
                      </a:r>
                    </a:p>
                  </a:txBody>
                  <a:tcPr marR="6074" marT="9144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GB" sz="900" i="1"/>
                        <a:t>Is the brand / product message easy and clear to understand?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GB" sz="900" i="1"/>
                        <a:t>Does the creative include visible / clear call to actions?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GB" sz="900" i="1"/>
                        <a:t>Does the message clearly bring the brand proposition to life?</a:t>
                      </a:r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543050" lvl="8" indent="-120650">
                        <a:spcBef>
                          <a:spcPts val="600"/>
                        </a:spcBef>
                        <a:buFontTx/>
                        <a:buChar char="•"/>
                      </a:pPr>
                      <a:r>
                        <a:rPr lang="en-US" sz="900" b="1"/>
                        <a:t>Short &amp; crisp descriptions </a:t>
                      </a:r>
                      <a:r>
                        <a:rPr lang="en-US" sz="900" b="0"/>
                        <a:t>with scope to increase customer interest by adding additional details such as material, sale, discounts, etc., in the description</a:t>
                      </a:r>
                    </a:p>
                    <a:p>
                      <a:pPr marL="1543050" lvl="8" indent="-120650">
                        <a:spcBef>
                          <a:spcPts val="600"/>
                        </a:spcBef>
                        <a:buFontTx/>
                        <a:buChar char="•"/>
                      </a:pPr>
                      <a:r>
                        <a:rPr lang="en-US" sz="900" b="1"/>
                        <a:t>Easy-to-understand</a:t>
                      </a:r>
                      <a:r>
                        <a:rPr lang="en-US" sz="900" b="0"/>
                        <a:t> language and </a:t>
                      </a:r>
                      <a:r>
                        <a:rPr lang="en-US" sz="900" b="1"/>
                        <a:t>call-to-action </a:t>
                      </a:r>
                      <a:r>
                        <a:rPr lang="en-US" sz="900" b="0"/>
                        <a:t>present at the bottom of every ad</a:t>
                      </a:r>
                    </a:p>
                    <a:p>
                      <a:pPr marL="1543050" lvl="8" indent="-120650">
                        <a:spcBef>
                          <a:spcPts val="600"/>
                        </a:spcBef>
                        <a:buFontTx/>
                        <a:buChar char="•"/>
                      </a:pPr>
                      <a:r>
                        <a:rPr lang="en-US" sz="900" b="0"/>
                        <a:t>Most creatives </a:t>
                      </a:r>
                      <a:r>
                        <a:rPr lang="en-US" sz="900" b="1"/>
                        <a:t>focused on products/ collection lines; Scope to bring out the brand proposition </a:t>
                      </a:r>
                      <a:r>
                        <a:rPr lang="en-US" sz="900" b="0"/>
                        <a:t>more clearly by including more creatives talking about the </a:t>
                      </a:r>
                      <a:r>
                        <a:rPr lang="en-US" sz="900" b="1"/>
                        <a:t>overall brand in general</a:t>
                      </a:r>
                      <a:r>
                        <a:rPr lang="en-US" sz="900" b="0"/>
                        <a:t>. </a:t>
                      </a:r>
                      <a:r>
                        <a:rPr lang="en-US" sz="900" b="0" i="1"/>
                        <a:t>Opportunity to play on the longevity of the brand, unique material used, etc.</a:t>
                      </a:r>
                      <a:endParaRPr lang="en-US" sz="900" b="1" i="1"/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593850" lvl="8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b="1" dirty="0"/>
                        <a:t>Peer 7 &amp; Peer 6 highlight additional details </a:t>
                      </a:r>
                      <a:r>
                        <a:rPr lang="en-US" sz="900" dirty="0"/>
                        <a:t>such as discounts, launch dates, etc., in the description itself</a:t>
                      </a:r>
                    </a:p>
                    <a:p>
                      <a:pPr marL="1593850" lvl="8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b="0" dirty="0"/>
                        <a:t>Many brands </a:t>
                      </a:r>
                      <a:r>
                        <a:rPr lang="en-US" sz="900" dirty="0"/>
                        <a:t>use creatives </a:t>
                      </a:r>
                      <a:r>
                        <a:rPr lang="en-US" sz="900" b="0" dirty="0"/>
                        <a:t>to </a:t>
                      </a:r>
                      <a:r>
                        <a:rPr lang="en-US" sz="900" b="1" dirty="0"/>
                        <a:t>bring out the overall brand proposition </a:t>
                      </a:r>
                      <a:r>
                        <a:rPr lang="en-US" sz="900" b="0" dirty="0"/>
                        <a:t>quite well</a:t>
                      </a:r>
                      <a:r>
                        <a:rPr lang="en-US" sz="900" b="1" dirty="0"/>
                        <a:t>; </a:t>
                      </a:r>
                      <a:r>
                        <a:rPr lang="en-US" sz="900" b="0" dirty="0"/>
                        <a:t>for e.g.- </a:t>
                      </a:r>
                      <a:r>
                        <a:rPr lang="en-US" sz="900" b="1" dirty="0"/>
                        <a:t>Peer 5 </a:t>
                      </a:r>
                      <a:r>
                        <a:rPr lang="en-US" sz="900" b="0" dirty="0"/>
                        <a:t>released ads communicating </a:t>
                      </a:r>
                      <a:r>
                        <a:rPr lang="en-US" sz="900" b="0" i="1" dirty="0"/>
                        <a:t>“handmade in Australia” </a:t>
                      </a:r>
                      <a:r>
                        <a:rPr lang="en-US" sz="900" b="0" i="0" dirty="0"/>
                        <a:t>&amp; </a:t>
                      </a:r>
                      <a:r>
                        <a:rPr lang="en-US" sz="900" b="1" i="0" dirty="0"/>
                        <a:t>Peer 7</a:t>
                      </a:r>
                      <a:r>
                        <a:rPr lang="en-US" sz="900" b="0" i="0" dirty="0"/>
                        <a:t> posted ads highlighting </a:t>
                      </a:r>
                      <a:r>
                        <a:rPr lang="en-US" sz="900" b="0" i="1" dirty="0"/>
                        <a:t>“Enter the P7 Club and get 10% discount on your first order” </a:t>
                      </a:r>
                      <a:r>
                        <a:rPr lang="en-US" sz="900" b="0" i="0" dirty="0"/>
                        <a:t>to initiate customer action</a:t>
                      </a:r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3149282"/>
                  </a:ext>
                </a:extLst>
              </a:tr>
              <a:tr h="1635673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GB" sz="1400" b="1">
                          <a:solidFill>
                            <a:schemeClr val="tx1"/>
                          </a:solidFill>
                        </a:rPr>
                        <a:t>Relevant</a:t>
                      </a:r>
                    </a:p>
                  </a:txBody>
                  <a:tcPr marR="6074" marT="9144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GB" sz="900" i="1" dirty="0"/>
                        <a:t>Does the creative reflect the prioritised category entry points?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900" i="1" dirty="0"/>
                        <a:t>Is the creative relevant to different types of audiences or does the brand leverage a one size fits all approach (shows lack of digital maturity)?</a:t>
                      </a:r>
                    </a:p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endParaRPr lang="en-US" sz="900" i="1" dirty="0"/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543050" marR="0" lvl="8" indent="-12065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0" dirty="0"/>
                        <a:t>Most creatives </a:t>
                      </a:r>
                      <a:r>
                        <a:rPr lang="en-US" sz="900" b="1" dirty="0"/>
                        <a:t>don’t look to cater to any specific demographic category for women</a:t>
                      </a:r>
                      <a:r>
                        <a:rPr lang="en-US" sz="900" b="0" dirty="0"/>
                        <a:t>; </a:t>
                      </a:r>
                      <a:r>
                        <a:rPr lang="en-US" sz="900" dirty="0"/>
                        <a:t>Scope to improve advertisements by </a:t>
                      </a:r>
                      <a:r>
                        <a:rPr lang="en-US" sz="900" b="1" dirty="0"/>
                        <a:t>structuring the content to appeal to different categories </a:t>
                      </a:r>
                      <a:r>
                        <a:rPr lang="en-US" sz="900" b="0" dirty="0"/>
                        <a:t>such as people planning a vacation, maternity products, etc.</a:t>
                      </a:r>
                    </a:p>
                    <a:p>
                      <a:pPr marL="1543050" marR="0" lvl="8" indent="-12065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1" dirty="0"/>
                        <a:t>A few posts highlight “one-size-fit”</a:t>
                      </a:r>
                      <a:r>
                        <a:rPr lang="en-US" sz="900" dirty="0"/>
                        <a:t> feature of the brand in creatives to </a:t>
                      </a:r>
                      <a:r>
                        <a:rPr lang="en-US" sz="900" b="0" dirty="0"/>
                        <a:t>appeal to different demographics by body type. Potentially increase this ad frequency</a:t>
                      </a:r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600200" lvl="8" indent="-17780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Peer 5 has strong creative content that </a:t>
                      </a:r>
                      <a:r>
                        <a:rPr lang="en-US" sz="900" b="1" dirty="0"/>
                        <a:t>highlights use-cases </a:t>
                      </a:r>
                      <a:r>
                        <a:rPr lang="en-US" sz="900" b="0" dirty="0"/>
                        <a:t>of their products; for e.g.- it posted </a:t>
                      </a:r>
                      <a:r>
                        <a:rPr lang="en-US" sz="900" b="0" i="1" dirty="0"/>
                        <a:t>“plan your next escape with new must-pack styles”</a:t>
                      </a:r>
                      <a:r>
                        <a:rPr lang="en-US" sz="900" b="1" dirty="0"/>
                        <a:t> </a:t>
                      </a:r>
                      <a:r>
                        <a:rPr lang="en-US" sz="900" dirty="0"/>
                        <a:t>to appeal to and </a:t>
                      </a:r>
                      <a:r>
                        <a:rPr lang="en-US" sz="900" b="1" dirty="0"/>
                        <a:t>engage people planning a vacation</a:t>
                      </a:r>
                    </a:p>
                    <a:p>
                      <a:pPr marL="1600200" lvl="8" indent="-17780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b="0" dirty="0"/>
                        <a:t>Similarly, Peer 7 also released a post highlighting its </a:t>
                      </a:r>
                      <a:r>
                        <a:rPr lang="en-US" sz="900" b="1" dirty="0"/>
                        <a:t>partywear swimwear collection</a:t>
                      </a:r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5388595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2D47B63-1B3D-48C6-BF55-511CA383A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1"/>
            <a:ext cx="11857038" cy="876687"/>
          </a:xfrm>
        </p:spPr>
        <p:txBody>
          <a:bodyPr vert="horz"/>
          <a:lstStyle/>
          <a:p>
            <a:r>
              <a:rPr lang="en-US" b="1" dirty="0"/>
              <a:t>Creative quality: </a:t>
            </a:r>
            <a:r>
              <a:rPr lang="en-US" dirty="0"/>
              <a:t>Good quality ads with appealing visuals &amp; clear messaging; scope to target the ads better (occasions/ customer segments), mention any offers/ discounts </a:t>
            </a:r>
            <a:r>
              <a:rPr lang="en-US" sz="1000" dirty="0"/>
              <a:t>(1/2)</a:t>
            </a:r>
          </a:p>
        </p:txBody>
      </p:sp>
      <p:grpSp>
        <p:nvGrpSpPr>
          <p:cNvPr id="4" name="btfpIcon977317">
            <a:extLst>
              <a:ext uri="{FF2B5EF4-FFF2-40B4-BE49-F238E27FC236}">
                <a16:creationId xmlns:a16="http://schemas.microsoft.com/office/drawing/2014/main" id="{D83467D6-FFE6-45BE-9DBB-51CC1C5D74AE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598917" y="1895674"/>
            <a:ext cx="620948" cy="620949"/>
            <a:chOff x="517240" y="1952625"/>
            <a:chExt cx="1100048" cy="1100049"/>
          </a:xfrm>
        </p:grpSpPr>
        <p:sp>
          <p:nvSpPr>
            <p:cNvPr id="5" name="btfpIconCircle977317">
              <a:extLst>
                <a:ext uri="{FF2B5EF4-FFF2-40B4-BE49-F238E27FC236}">
                  <a16:creationId xmlns:a16="http://schemas.microsoft.com/office/drawing/2014/main" id="{5FF3FF89-2024-4ECC-B052-A0569C7DE53A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240" y="1952625"/>
              <a:ext cx="1100048" cy="1100048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>
                <a:solidFill>
                  <a:schemeClr val="tx1"/>
                </a:solidFill>
              </a:endParaRPr>
            </a:p>
          </p:txBody>
        </p:sp>
        <p:pic>
          <p:nvPicPr>
            <p:cNvPr id="6" name="btfpIconLines977317">
              <a:extLst>
                <a:ext uri="{FF2B5EF4-FFF2-40B4-BE49-F238E27FC236}">
                  <a16:creationId xmlns:a16="http://schemas.microsoft.com/office/drawing/2014/main" id="{8AA0466D-9F0D-46E4-9F2D-BC4FBAC8BD17}"/>
                </a:ext>
              </a:extLst>
            </p:cNvPr>
            <p:cNvPicPr>
              <a:picLocks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7240" y="1952626"/>
              <a:ext cx="1100048" cy="1100048"/>
            </a:xfrm>
            <a:prstGeom prst="rect">
              <a:avLst/>
            </a:prstGeom>
          </p:spPr>
        </p:pic>
      </p:grpSp>
      <p:grpSp>
        <p:nvGrpSpPr>
          <p:cNvPr id="7" name="btfpIcon510107">
            <a:extLst>
              <a:ext uri="{FF2B5EF4-FFF2-40B4-BE49-F238E27FC236}">
                <a16:creationId xmlns:a16="http://schemas.microsoft.com/office/drawing/2014/main" id="{6D7C3438-E2ED-4442-9B9E-350B0A18097E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598916" y="5337311"/>
            <a:ext cx="620950" cy="620949"/>
            <a:chOff x="6404832" y="1927747"/>
            <a:chExt cx="1625817" cy="1585595"/>
          </a:xfrm>
        </p:grpSpPr>
        <p:sp>
          <p:nvSpPr>
            <p:cNvPr id="8" name="btfpIconCircle510107">
              <a:extLst>
                <a:ext uri="{FF2B5EF4-FFF2-40B4-BE49-F238E27FC236}">
                  <a16:creationId xmlns:a16="http://schemas.microsoft.com/office/drawing/2014/main" id="{8D68F9B9-3835-4A71-A10F-C283214908F6}"/>
                </a:ext>
              </a:extLst>
            </p:cNvPr>
            <p:cNvSpPr>
              <a:spLocks/>
            </p:cNvSpPr>
            <p:nvPr/>
          </p:nvSpPr>
          <p:spPr bwMode="gray">
            <a:xfrm>
              <a:off x="6404832" y="1927747"/>
              <a:ext cx="1625814" cy="1585595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>
                <a:solidFill>
                  <a:schemeClr val="tx1"/>
                </a:solidFill>
              </a:endParaRPr>
            </a:p>
          </p:txBody>
        </p:sp>
        <p:pic>
          <p:nvPicPr>
            <p:cNvPr id="9" name="btfpIconLines510107">
              <a:extLst>
                <a:ext uri="{FF2B5EF4-FFF2-40B4-BE49-F238E27FC236}">
                  <a16:creationId xmlns:a16="http://schemas.microsoft.com/office/drawing/2014/main" id="{5510E51A-09A4-4538-9335-3F5F7D3F22EA}"/>
                </a:ext>
              </a:extLst>
            </p:cNvPr>
            <p:cNvPicPr>
              <a:picLocks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04835" y="1927747"/>
              <a:ext cx="1625814" cy="1585595"/>
            </a:xfrm>
            <a:prstGeom prst="rect">
              <a:avLst/>
            </a:prstGeom>
          </p:spPr>
        </p:pic>
      </p:grpSp>
      <p:grpSp>
        <p:nvGrpSpPr>
          <p:cNvPr id="16" name="btfpIcon866362">
            <a:extLst>
              <a:ext uri="{FF2B5EF4-FFF2-40B4-BE49-F238E27FC236}">
                <a16:creationId xmlns:a16="http://schemas.microsoft.com/office/drawing/2014/main" id="{ED463CFE-7315-474D-8566-C8A0A9CB20D8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598917" y="3939862"/>
            <a:ext cx="620948" cy="620949"/>
            <a:chOff x="4581983" y="1935092"/>
            <a:chExt cx="1269489" cy="1269489"/>
          </a:xfrm>
        </p:grpSpPr>
        <p:sp>
          <p:nvSpPr>
            <p:cNvPr id="17" name="btfpIconCircle866362">
              <a:extLst>
                <a:ext uri="{FF2B5EF4-FFF2-40B4-BE49-F238E27FC236}">
                  <a16:creationId xmlns:a16="http://schemas.microsoft.com/office/drawing/2014/main" id="{19EBB556-7167-4ABC-A3C5-965CC6D8268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1983" y="1935092"/>
              <a:ext cx="1269489" cy="1269489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>
                <a:solidFill>
                  <a:schemeClr val="tx1"/>
                </a:solidFill>
              </a:endParaRPr>
            </a:p>
          </p:txBody>
        </p:sp>
        <p:pic>
          <p:nvPicPr>
            <p:cNvPr id="18" name="btfpIconLines866362">
              <a:extLst>
                <a:ext uri="{FF2B5EF4-FFF2-40B4-BE49-F238E27FC236}">
                  <a16:creationId xmlns:a16="http://schemas.microsoft.com/office/drawing/2014/main" id="{A213AE07-6A38-4BA7-BB6B-F311273585CD}"/>
                </a:ext>
              </a:extLst>
            </p:cNvPr>
            <p:cNvPicPr>
              <a:picLocks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81983" y="1935092"/>
              <a:ext cx="1269489" cy="1269489"/>
            </a:xfrm>
            <a:prstGeom prst="rect">
              <a:avLst/>
            </a:prstGeom>
          </p:spPr>
        </p:pic>
      </p:grpSp>
      <p:sp>
        <p:nvSpPr>
          <p:cNvPr id="28" name="btfpNotesBox612105">
            <a:extLst>
              <a:ext uri="{FF2B5EF4-FFF2-40B4-BE49-F238E27FC236}">
                <a16:creationId xmlns:a16="http://schemas.microsoft.com/office/drawing/2014/main" id="{AED99F06-EAD5-4B0F-8665-94AED76B9CA5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buNone/>
            </a:pPr>
            <a:r>
              <a:rPr lang="en-US" sz="800" dirty="0"/>
              <a:t>Source: Meta Ads Library accessed on January 11, 2024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EAD3BEB-FB9B-A841-A968-C74F2246578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355872" y="3398153"/>
            <a:ext cx="1122215" cy="909035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36A341A1-78A3-6738-89A7-773922F5BF6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498697" y="4215796"/>
            <a:ext cx="1122215" cy="872386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DE07D059-3EAD-B180-C3B8-23B781E9477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980957" y="3248485"/>
            <a:ext cx="865867" cy="66535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8F3C9F00-A577-FF4D-9481-3446FECB814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980957" y="4002162"/>
            <a:ext cx="922534" cy="760511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B34677EA-A3AF-C212-F5D2-B5BE44045B51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978655" y="1618385"/>
            <a:ext cx="932531" cy="755531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9F53A5F2-0445-D262-44B6-838C97762E1D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524731" y="3464053"/>
            <a:ext cx="736216" cy="66535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513C143F-C6CF-B36F-2330-8CEDBAB81602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8280695" y="2192411"/>
            <a:ext cx="980252" cy="760511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8DD71064-B8F8-837D-C1CA-E60632039A0B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8478715" y="4463277"/>
            <a:ext cx="782231" cy="580768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A4DEA517-EB71-5E21-0B35-063803560205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318487" y="1607562"/>
            <a:ext cx="1048760" cy="805596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AD806007-2EC9-E3E3-3B0E-BF5E25024B2A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3799103" y="2043289"/>
            <a:ext cx="1017768" cy="829427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6325BA42-938D-285D-1E51-4CCAD5877014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3353236" y="5181402"/>
            <a:ext cx="1398555" cy="1136793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2ACF5B5A-D741-7E44-4F88-78450E3FD342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7978655" y="5092765"/>
            <a:ext cx="1035557" cy="855863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26DF0435-B5E1-7AC5-3DBF-1C949DB657F5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8461081" y="5688665"/>
            <a:ext cx="869544" cy="85586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11E9708-1334-BE0F-4FF4-811728F979B6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3318487" y="2518248"/>
            <a:ext cx="865867" cy="813863"/>
          </a:xfrm>
          <a:prstGeom prst="rect">
            <a:avLst/>
          </a:prstGeom>
        </p:spPr>
      </p:pic>
      <p:grpSp>
        <p:nvGrpSpPr>
          <p:cNvPr id="13" name="btfpRunningAgenda2Level294467">
            <a:extLst>
              <a:ext uri="{FF2B5EF4-FFF2-40B4-BE49-F238E27FC236}">
                <a16:creationId xmlns:a16="http://schemas.microsoft.com/office/drawing/2014/main" id="{7F73C0ED-176A-9869-411E-A099D8835F2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0" y="944429"/>
            <a:ext cx="3737297" cy="257442"/>
            <a:chOff x="0" y="876300"/>
            <a:chExt cx="3737297" cy="257442"/>
          </a:xfrm>
        </p:grpSpPr>
        <p:sp>
          <p:nvSpPr>
            <p:cNvPr id="14" name="btfpRunningAgenda2LevelBarLeft294467">
              <a:extLst>
                <a:ext uri="{FF2B5EF4-FFF2-40B4-BE49-F238E27FC236}">
                  <a16:creationId xmlns:a16="http://schemas.microsoft.com/office/drawing/2014/main" id="{C76831E6-D884-2296-FC15-FDC089669230}"/>
                </a:ext>
              </a:extLst>
            </p:cNvPr>
            <p:cNvSpPr/>
            <p:nvPr/>
          </p:nvSpPr>
          <p:spPr bwMode="gray">
            <a:xfrm>
              <a:off x="1" y="876300"/>
              <a:ext cx="2592724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20719 w 1120719"/>
                <a:gd name="connsiteY0" fmla="*/ 0 h 257442"/>
                <a:gd name="connsiteX1" fmla="*/ 888065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289034 w 1289034"/>
                <a:gd name="connsiteY0" fmla="*/ 0 h 257442"/>
                <a:gd name="connsiteX1" fmla="*/ 1065998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390025 w 1390025"/>
                <a:gd name="connsiteY0" fmla="*/ 0 h 257442"/>
                <a:gd name="connsiteX1" fmla="*/ 1234313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4 w 1390024"/>
                <a:gd name="connsiteY0" fmla="*/ 0 h 257442"/>
                <a:gd name="connsiteX1" fmla="*/ 1335303 w 1390024"/>
                <a:gd name="connsiteY1" fmla="*/ 257442 h 257442"/>
                <a:gd name="connsiteX2" fmla="*/ 0 w 1390024"/>
                <a:gd name="connsiteY2" fmla="*/ 257442 h 257442"/>
                <a:gd name="connsiteX3" fmla="*/ 0 w 1390024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1 w 1390025"/>
                <a:gd name="connsiteY2" fmla="*/ 257442 h 257442"/>
                <a:gd name="connsiteX3" fmla="*/ 0 w 1390025"/>
                <a:gd name="connsiteY3" fmla="*/ 0 h 257442"/>
                <a:gd name="connsiteX0" fmla="*/ 1558340 w 1558340"/>
                <a:gd name="connsiteY0" fmla="*/ 0 h 257442"/>
                <a:gd name="connsiteX1" fmla="*/ 1335304 w 1558340"/>
                <a:gd name="connsiteY1" fmla="*/ 257442 h 257442"/>
                <a:gd name="connsiteX2" fmla="*/ 1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1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0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0 w 1558340"/>
                <a:gd name="connsiteY2" fmla="*/ 257442 h 257442"/>
                <a:gd name="connsiteX3" fmla="*/ 0 w 1558340"/>
                <a:gd name="connsiteY3" fmla="*/ 0 h 257442"/>
                <a:gd name="connsiteX0" fmla="*/ 1710625 w 1710625"/>
                <a:gd name="connsiteY0" fmla="*/ 0 h 257442"/>
                <a:gd name="connsiteX1" fmla="*/ 1503618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808857 w 1808857"/>
                <a:gd name="connsiteY0" fmla="*/ 0 h 257442"/>
                <a:gd name="connsiteX1" fmla="*/ 1655904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994805 w 1994805"/>
                <a:gd name="connsiteY0" fmla="*/ 0 h 257442"/>
                <a:gd name="connsiteX1" fmla="*/ 1754136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2155105 w 2155105"/>
                <a:gd name="connsiteY0" fmla="*/ 0 h 257442"/>
                <a:gd name="connsiteX1" fmla="*/ 19400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323420 w 2323420"/>
                <a:gd name="connsiteY0" fmla="*/ 0 h 257442"/>
                <a:gd name="connsiteX1" fmla="*/ 2100384 w 2323420"/>
                <a:gd name="connsiteY1" fmla="*/ 257442 h 257442"/>
                <a:gd name="connsiteX2" fmla="*/ 0 w 2323420"/>
                <a:gd name="connsiteY2" fmla="*/ 257442 h 257442"/>
                <a:gd name="connsiteX3" fmla="*/ 0 w 2323420"/>
                <a:gd name="connsiteY3" fmla="*/ 0 h 257442"/>
                <a:gd name="connsiteX0" fmla="*/ 2323420 w 2323420"/>
                <a:gd name="connsiteY0" fmla="*/ 0 h 257442"/>
                <a:gd name="connsiteX1" fmla="*/ 2268698 w 2323420"/>
                <a:gd name="connsiteY1" fmla="*/ 257442 h 257442"/>
                <a:gd name="connsiteX2" fmla="*/ 0 w 2323420"/>
                <a:gd name="connsiteY2" fmla="*/ 257442 h 257442"/>
                <a:gd name="connsiteX3" fmla="*/ 0 w 2323420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1 w 2323421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1 w 2323421"/>
                <a:gd name="connsiteY3" fmla="*/ 0 h 257442"/>
                <a:gd name="connsiteX0" fmla="*/ 2424411 w 2424411"/>
                <a:gd name="connsiteY0" fmla="*/ 0 h 257442"/>
                <a:gd name="connsiteX1" fmla="*/ 2268699 w 2424411"/>
                <a:gd name="connsiteY1" fmla="*/ 257442 h 257442"/>
                <a:gd name="connsiteX2" fmla="*/ 0 w 2424411"/>
                <a:gd name="connsiteY2" fmla="*/ 257442 h 257442"/>
                <a:gd name="connsiteX3" fmla="*/ 1 w 2424411"/>
                <a:gd name="connsiteY3" fmla="*/ 0 h 257442"/>
                <a:gd name="connsiteX0" fmla="*/ 2424411 w 2424411"/>
                <a:gd name="connsiteY0" fmla="*/ 0 h 257442"/>
                <a:gd name="connsiteX1" fmla="*/ 2369690 w 2424411"/>
                <a:gd name="connsiteY1" fmla="*/ 257442 h 257442"/>
                <a:gd name="connsiteX2" fmla="*/ 0 w 2424411"/>
                <a:gd name="connsiteY2" fmla="*/ 257442 h 257442"/>
                <a:gd name="connsiteX3" fmla="*/ 1 w 2424411"/>
                <a:gd name="connsiteY3" fmla="*/ 0 h 257442"/>
                <a:gd name="connsiteX0" fmla="*/ 2424410 w 2424410"/>
                <a:gd name="connsiteY0" fmla="*/ 0 h 257442"/>
                <a:gd name="connsiteX1" fmla="*/ 2369689 w 2424410"/>
                <a:gd name="connsiteY1" fmla="*/ 257442 h 257442"/>
                <a:gd name="connsiteX2" fmla="*/ 0 w 2424410"/>
                <a:gd name="connsiteY2" fmla="*/ 257442 h 257442"/>
                <a:gd name="connsiteX3" fmla="*/ 0 w 2424410"/>
                <a:gd name="connsiteY3" fmla="*/ 0 h 257442"/>
                <a:gd name="connsiteX0" fmla="*/ 2424411 w 2424411"/>
                <a:gd name="connsiteY0" fmla="*/ 0 h 257442"/>
                <a:gd name="connsiteX1" fmla="*/ 2369690 w 2424411"/>
                <a:gd name="connsiteY1" fmla="*/ 257442 h 257442"/>
                <a:gd name="connsiteX2" fmla="*/ 1 w 2424411"/>
                <a:gd name="connsiteY2" fmla="*/ 257442 h 257442"/>
                <a:gd name="connsiteX3" fmla="*/ 0 w 2424411"/>
                <a:gd name="connsiteY3" fmla="*/ 0 h 257442"/>
                <a:gd name="connsiteX0" fmla="*/ 2592725 w 2592725"/>
                <a:gd name="connsiteY0" fmla="*/ 0 h 257442"/>
                <a:gd name="connsiteX1" fmla="*/ 2369690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4 w 2592724"/>
                <a:gd name="connsiteY0" fmla="*/ 0 h 257442"/>
                <a:gd name="connsiteX1" fmla="*/ 2538003 w 2592724"/>
                <a:gd name="connsiteY1" fmla="*/ 257442 h 257442"/>
                <a:gd name="connsiteX2" fmla="*/ 0 w 2592724"/>
                <a:gd name="connsiteY2" fmla="*/ 257442 h 257442"/>
                <a:gd name="connsiteX3" fmla="*/ 0 w 259272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92724" h="257442">
                  <a:moveTo>
                    <a:pt x="2592724" y="0"/>
                  </a:moveTo>
                  <a:lnTo>
                    <a:pt x="2538003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btfpRunningAgenda2LevelTextLeft294467">
              <a:extLst>
                <a:ext uri="{FF2B5EF4-FFF2-40B4-BE49-F238E27FC236}">
                  <a16:creationId xmlns:a16="http://schemas.microsoft.com/office/drawing/2014/main" id="{8756A889-D5BF-862D-F881-60663C1C2BEA}"/>
                </a:ext>
              </a:extLst>
            </p:cNvPr>
            <p:cNvSpPr txBox="1"/>
            <p:nvPr/>
          </p:nvSpPr>
          <p:spPr bwMode="gray">
            <a:xfrm>
              <a:off x="0" y="876300"/>
              <a:ext cx="2538003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Social media</a:t>
              </a:r>
            </a:p>
          </p:txBody>
        </p:sp>
        <p:sp>
          <p:nvSpPr>
            <p:cNvPr id="31" name="btfpRunningAgenda2LevelBarRight294467">
              <a:extLst>
                <a:ext uri="{FF2B5EF4-FFF2-40B4-BE49-F238E27FC236}">
                  <a16:creationId xmlns:a16="http://schemas.microsoft.com/office/drawing/2014/main" id="{191FD5F8-C714-C8DB-DF14-7AF7D79E7C3A}"/>
                </a:ext>
              </a:extLst>
            </p:cNvPr>
            <p:cNvSpPr/>
            <p:nvPr/>
          </p:nvSpPr>
          <p:spPr bwMode="gray">
            <a:xfrm>
              <a:off x="2457881" y="876300"/>
              <a:ext cx="1279416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2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9416" h="257442">
                  <a:moveTo>
                    <a:pt x="1279416" y="0"/>
                  </a:moveTo>
                  <a:lnTo>
                    <a:pt x="1224695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2" name="btfpRunningAgenda2LevelTextRight294467">
              <a:extLst>
                <a:ext uri="{FF2B5EF4-FFF2-40B4-BE49-F238E27FC236}">
                  <a16:creationId xmlns:a16="http://schemas.microsoft.com/office/drawing/2014/main" id="{D194E25B-E146-B915-3346-A8267A65E8F5}"/>
                </a:ext>
              </a:extLst>
            </p:cNvPr>
            <p:cNvSpPr txBox="1"/>
            <p:nvPr/>
          </p:nvSpPr>
          <p:spPr bwMode="gray">
            <a:xfrm>
              <a:off x="2457881" y="876300"/>
              <a:ext cx="122469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ads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497422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btfpColumnIndicatorGroup2">
            <a:extLst>
              <a:ext uri="{FF2B5EF4-FFF2-40B4-BE49-F238E27FC236}">
                <a16:creationId xmlns:a16="http://schemas.microsoft.com/office/drawing/2014/main" id="{4BEB037D-1462-ADBA-F771-F8023832A1D3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8" name="btfpColumnGapBlocker428740">
              <a:extLst>
                <a:ext uri="{FF2B5EF4-FFF2-40B4-BE49-F238E27FC236}">
                  <a16:creationId xmlns:a16="http://schemas.microsoft.com/office/drawing/2014/main" id="{24201FD8-CFB0-C68D-0D0A-8D095DA1923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5" name="btfpColumnGapBlocker657225">
              <a:extLst>
                <a:ext uri="{FF2B5EF4-FFF2-40B4-BE49-F238E27FC236}">
                  <a16:creationId xmlns:a16="http://schemas.microsoft.com/office/drawing/2014/main" id="{E0050D7F-37DC-1C8B-C079-B477326F494F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3" name="btfpColumnIndicator862382">
              <a:extLst>
                <a:ext uri="{FF2B5EF4-FFF2-40B4-BE49-F238E27FC236}">
                  <a16:creationId xmlns:a16="http://schemas.microsoft.com/office/drawing/2014/main" id="{C8A34912-F50E-A461-6E88-437681B64B8C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btfpColumnIndicator871366">
              <a:extLst>
                <a:ext uri="{FF2B5EF4-FFF2-40B4-BE49-F238E27FC236}">
                  <a16:creationId xmlns:a16="http://schemas.microsoft.com/office/drawing/2014/main" id="{1BCDADB3-FE85-6635-0B25-BE086D6AD09A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btfpColumnIndicatorGroup1">
            <a:extLst>
              <a:ext uri="{FF2B5EF4-FFF2-40B4-BE49-F238E27FC236}">
                <a16:creationId xmlns:a16="http://schemas.microsoft.com/office/drawing/2014/main" id="{5C7BFE61-392B-C7C3-7F97-283439B1FEBB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6" name="btfpColumnGapBlocker461187">
              <a:extLst>
                <a:ext uri="{FF2B5EF4-FFF2-40B4-BE49-F238E27FC236}">
                  <a16:creationId xmlns:a16="http://schemas.microsoft.com/office/drawing/2014/main" id="{75F49406-2212-7156-0112-C482AEE9CB11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4" name="btfpColumnGapBlocker548553">
              <a:extLst>
                <a:ext uri="{FF2B5EF4-FFF2-40B4-BE49-F238E27FC236}">
                  <a16:creationId xmlns:a16="http://schemas.microsoft.com/office/drawing/2014/main" id="{AF924929-E9F4-AAB2-B4FB-B046CEC6579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0" name="btfpColumnIndicator891973">
              <a:extLst>
                <a:ext uri="{FF2B5EF4-FFF2-40B4-BE49-F238E27FC236}">
                  <a16:creationId xmlns:a16="http://schemas.microsoft.com/office/drawing/2014/main" id="{DB40D659-D4BC-55D5-3480-15D3F48C9D1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btfpColumnIndicator512330">
              <a:extLst>
                <a:ext uri="{FF2B5EF4-FFF2-40B4-BE49-F238E27FC236}">
                  <a16:creationId xmlns:a16="http://schemas.microsoft.com/office/drawing/2014/main" id="{F817FC83-1058-6A76-8C84-BB0D86994900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" name="Table 10">
            <a:extLst>
              <a:ext uri="{FF2B5EF4-FFF2-40B4-BE49-F238E27FC236}">
                <a16:creationId xmlns:a16="http://schemas.microsoft.com/office/drawing/2014/main" id="{CB1F7A2E-8AEC-46DF-AC9C-C19C73CF14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7619148"/>
              </p:ext>
            </p:extLst>
          </p:nvPr>
        </p:nvGraphicFramePr>
        <p:xfrm>
          <a:off x="335278" y="1350877"/>
          <a:ext cx="11521760" cy="509191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59889">
                  <a:extLst>
                    <a:ext uri="{9D8B030D-6E8A-4147-A177-3AD203B41FA5}">
                      <a16:colId xmlns:a16="http://schemas.microsoft.com/office/drawing/2014/main" val="3265791260"/>
                    </a:ext>
                  </a:extLst>
                </a:gridCol>
                <a:gridCol w="1762812">
                  <a:extLst>
                    <a:ext uri="{9D8B030D-6E8A-4147-A177-3AD203B41FA5}">
                      <a16:colId xmlns:a16="http://schemas.microsoft.com/office/drawing/2014/main" val="193002952"/>
                    </a:ext>
                  </a:extLst>
                </a:gridCol>
                <a:gridCol w="4619134">
                  <a:extLst>
                    <a:ext uri="{9D8B030D-6E8A-4147-A177-3AD203B41FA5}">
                      <a16:colId xmlns:a16="http://schemas.microsoft.com/office/drawing/2014/main" val="403952784"/>
                    </a:ext>
                  </a:extLst>
                </a:gridCol>
                <a:gridCol w="4079925">
                  <a:extLst>
                    <a:ext uri="{9D8B030D-6E8A-4147-A177-3AD203B41FA5}">
                      <a16:colId xmlns:a16="http://schemas.microsoft.com/office/drawing/2014/main" val="1454322158"/>
                    </a:ext>
                  </a:extLst>
                </a:gridCol>
              </a:tblGrid>
              <a:tr h="208725">
                <a:tc>
                  <a:txBody>
                    <a:bodyPr/>
                    <a:lstStyle/>
                    <a:p>
                      <a:pPr marL="0" marR="0" lvl="0" indent="0" algn="l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ey Criteria</a:t>
                      </a:r>
                    </a:p>
                  </a:txBody>
                  <a:tcPr marR="6074" marT="6074" marB="0" anchor="ctr"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200" b="1" i="0" u="none" strike="noStrike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Description</a:t>
                      </a:r>
                    </a:p>
                  </a:txBody>
                  <a:tcPr marR="6074" marT="6074" marB="0" anchor="ctr"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rget</a:t>
                      </a:r>
                    </a:p>
                  </a:txBody>
                  <a:tcPr marR="6074" marT="6074" marB="0" anchor="ctr"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2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st practices/ Competitor Examples</a:t>
                      </a:r>
                    </a:p>
                  </a:txBody>
                  <a:tcPr marR="6074" marT="6074" marB="0" anchor="ctr"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1147381"/>
                  </a:ext>
                </a:extLst>
              </a:tr>
              <a:tr h="1999406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GB" sz="1400" b="1">
                          <a:solidFill>
                            <a:schemeClr val="tx1"/>
                          </a:solidFill>
                        </a:rPr>
                        <a:t>Distinctive</a:t>
                      </a:r>
                    </a:p>
                  </a:txBody>
                  <a:tcPr marR="6074" marT="9144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GB" sz="900" i="1" dirty="0"/>
                        <a:t>Does the creative leverage the brand’s distinctive assets well (e.g. branding appears across assets in first few seconds of video)?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GB" sz="900" i="1" dirty="0"/>
                        <a:t>Are distinctive assets (e.g. logo, tagline, characters) applied consistently?</a:t>
                      </a:r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593850" lvl="8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/>
                        <a:t>Creatives </a:t>
                      </a:r>
                      <a:r>
                        <a:rPr lang="en-US" sz="900" b="1"/>
                        <a:t>leveraging the brand’s distinctive assets</a:t>
                      </a:r>
                      <a:r>
                        <a:rPr lang="en-US" sz="900" b="0"/>
                        <a:t> like brand logo, font style, etc.</a:t>
                      </a:r>
                      <a:r>
                        <a:rPr lang="en-US" sz="900" b="1"/>
                        <a:t> </a:t>
                      </a:r>
                      <a:r>
                        <a:rPr lang="en-US" sz="900"/>
                        <a:t>well with </a:t>
                      </a:r>
                      <a:r>
                        <a:rPr lang="en-US" sz="900" b="1"/>
                        <a:t>consistent use of their logo and tagline </a:t>
                      </a:r>
                      <a:r>
                        <a:rPr lang="en-US" sz="900"/>
                        <a:t>(</a:t>
                      </a:r>
                      <a:r>
                        <a:rPr lang="en-US" sz="900" i="1"/>
                        <a:t>“The original crinkle since 1984”</a:t>
                      </a:r>
                      <a:r>
                        <a:rPr lang="en-US" sz="900"/>
                        <a:t>) throughout all advertisements</a:t>
                      </a:r>
                    </a:p>
                    <a:p>
                      <a:pPr marL="1593850" lvl="8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b="0"/>
                        <a:t>Audio/Visual creatives </a:t>
                      </a:r>
                      <a:r>
                        <a:rPr lang="en-US" sz="900" b="1"/>
                        <a:t>bring out brand name </a:t>
                      </a:r>
                      <a:r>
                        <a:rPr lang="en-US" sz="900"/>
                        <a:t>in the beginning of the video along with </a:t>
                      </a:r>
                      <a:r>
                        <a:rPr lang="en-US" sz="900" b="1"/>
                        <a:t>similar template </a:t>
                      </a:r>
                      <a:r>
                        <a:rPr lang="en-US" sz="900"/>
                        <a:t>being published across ads, </a:t>
                      </a:r>
                      <a:r>
                        <a:rPr lang="en-US" sz="900" b="1"/>
                        <a:t>increasing brand recall</a:t>
                      </a:r>
                    </a:p>
                    <a:p>
                      <a:pPr marL="1600200" lvl="8" indent="-17780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/>
                        <a:t>Ads highlight </a:t>
                      </a:r>
                      <a:r>
                        <a:rPr lang="en-US" sz="900" b="1"/>
                        <a:t>brand’s appeal, font &amp; colors </a:t>
                      </a:r>
                      <a:r>
                        <a:rPr lang="en-US" sz="900"/>
                        <a:t>distinctively</a:t>
                      </a:r>
                    </a:p>
                    <a:p>
                      <a:pPr marL="1422400" lvl="8" indent="0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endParaRPr lang="en-US" sz="900"/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600200" lvl="8" indent="-17780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b="0" dirty="0"/>
                        <a:t>Peer 6 </a:t>
                      </a:r>
                      <a:r>
                        <a:rPr lang="en-US" sz="900" b="1" dirty="0"/>
                        <a:t>consistently adds brand hashtags </a:t>
                      </a:r>
                      <a:r>
                        <a:rPr lang="en-US" sz="900" b="0" dirty="0"/>
                        <a:t>such as </a:t>
                      </a:r>
                      <a:r>
                        <a:rPr lang="en-US" sz="900" b="0" i="1" dirty="0"/>
                        <a:t>“#Peer6Beachwear”</a:t>
                      </a:r>
                      <a:r>
                        <a:rPr lang="en-US" sz="900" b="0" dirty="0"/>
                        <a:t> and </a:t>
                      </a:r>
                      <a:r>
                        <a:rPr lang="en-US" sz="900" b="0" i="1" dirty="0"/>
                        <a:t>“#Peer6Crinkle” </a:t>
                      </a:r>
                      <a:r>
                        <a:rPr lang="en-US" sz="900" b="0" i="0" dirty="0"/>
                        <a:t>in their description </a:t>
                      </a:r>
                      <a:r>
                        <a:rPr lang="en-US" sz="900" dirty="0"/>
                        <a:t>which helps in creating </a:t>
                      </a:r>
                      <a:r>
                        <a:rPr lang="en-US" sz="900" b="1" dirty="0"/>
                        <a:t>strong brand recall</a:t>
                      </a:r>
                      <a:endParaRPr lang="en-US" sz="900" b="0" i="1" dirty="0"/>
                    </a:p>
                    <a:p>
                      <a:pPr marL="1600200" lvl="8" indent="-17780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b="0" dirty="0"/>
                        <a:t>Other brands like</a:t>
                      </a:r>
                      <a:r>
                        <a:rPr lang="en-US" sz="900" b="1" dirty="0"/>
                        <a:t> Peer 5 and Peer 2 also display consistent use of the brand assets </a:t>
                      </a:r>
                      <a:r>
                        <a:rPr lang="en-US" sz="900" b="0" dirty="0"/>
                        <a:t>such as logo </a:t>
                      </a:r>
                      <a:r>
                        <a:rPr lang="en-US" sz="900" dirty="0"/>
                        <a:t>throughout their creatives</a:t>
                      </a:r>
                      <a:endParaRPr lang="en-US" sz="900" b="1" dirty="0"/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1060620"/>
                  </a:ext>
                </a:extLst>
              </a:tr>
              <a:tr h="2883780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GB" sz="1400" b="1">
                          <a:solidFill>
                            <a:schemeClr val="tx1"/>
                          </a:solidFill>
                        </a:rPr>
                        <a:t>Optimised</a:t>
                      </a:r>
                    </a:p>
                  </a:txBody>
                  <a:tcPr marR="6074" marT="9144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GB" sz="900" i="1"/>
                        <a:t>Is creative leveraged optimised for the consumers across the funnel and the screens they view on?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GB" sz="900" i="1"/>
                        <a:t>Does the brand have relevant creative across all stages of the funnel e.g. awareness, consideration, purchase?</a:t>
                      </a:r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600200" lvl="8" indent="-17780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Ads are </a:t>
                      </a:r>
                      <a:r>
                        <a:rPr lang="en-US" sz="900" b="1" dirty="0"/>
                        <a:t>optimized for both mobile &amp; desktop platforms</a:t>
                      </a:r>
                    </a:p>
                    <a:p>
                      <a:pPr marL="1600200" lvl="8" indent="-17780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b="0" dirty="0"/>
                        <a:t>Majority of creatives have emphasized </a:t>
                      </a:r>
                      <a:r>
                        <a:rPr lang="en-US" sz="900" b="1" dirty="0"/>
                        <a:t>specific </a:t>
                      </a:r>
                      <a:r>
                        <a:rPr lang="en-US" sz="900" b="0" dirty="0"/>
                        <a:t>products or collection lines</a:t>
                      </a:r>
                      <a:r>
                        <a:rPr lang="en-US" sz="900" b="1" dirty="0"/>
                        <a:t>, </a:t>
                      </a:r>
                      <a:r>
                        <a:rPr lang="en-US" sz="900" b="0" dirty="0"/>
                        <a:t>highlighting colors, cuts, and design of the swimwear; </a:t>
                      </a:r>
                      <a:r>
                        <a:rPr lang="en-US" sz="900" b="1" dirty="0"/>
                        <a:t>Scope to highlight broader messaging/brand proposition/overall brand story in ads</a:t>
                      </a:r>
                    </a:p>
                    <a:p>
                      <a:pPr marL="1600200" lvl="8" indent="-17780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Creatives are relevant across all stages of the sales funnel as Target’s </a:t>
                      </a:r>
                      <a:r>
                        <a:rPr lang="en-US" sz="900" b="1" dirty="0"/>
                        <a:t>have eye-catching visuals that spark interest among top funnel consumers</a:t>
                      </a:r>
                      <a:r>
                        <a:rPr lang="en-US" sz="900" dirty="0"/>
                        <a:t>, along </a:t>
                      </a:r>
                      <a:r>
                        <a:rPr lang="en-US" sz="900" b="0" dirty="0"/>
                        <a:t>with one size fits all claims</a:t>
                      </a:r>
                      <a:r>
                        <a:rPr lang="en-US" sz="900" b="1" dirty="0"/>
                        <a:t> </a:t>
                      </a:r>
                      <a:r>
                        <a:rPr lang="en-US" sz="900" b="0" dirty="0"/>
                        <a:t>which helps with</a:t>
                      </a:r>
                      <a:r>
                        <a:rPr lang="en-US" sz="900" b="1" dirty="0"/>
                        <a:t> product </a:t>
                      </a:r>
                      <a:r>
                        <a:rPr lang="en-US" sz="900" b="0" dirty="0"/>
                        <a:t>differentiation and make ads more persuasive. </a:t>
                      </a:r>
                      <a:r>
                        <a:rPr lang="en-US" sz="900" b="1" dirty="0"/>
                        <a:t>Call to action button </a:t>
                      </a:r>
                      <a:r>
                        <a:rPr lang="en-US" sz="900" b="0" dirty="0"/>
                        <a:t>on almost each ads in consumer conversions</a:t>
                      </a:r>
                    </a:p>
                    <a:p>
                      <a:pPr marL="1600200" lvl="8" indent="-17780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Target can </a:t>
                      </a:r>
                      <a:r>
                        <a:rPr lang="en-US" sz="900" b="1" dirty="0"/>
                        <a:t>look to convert customers and create a powerfu</a:t>
                      </a:r>
                      <a:r>
                        <a:rPr lang="en-US" sz="900" dirty="0"/>
                        <a:t>l </a:t>
                      </a:r>
                      <a:r>
                        <a:rPr lang="en-US" sz="900" b="1" dirty="0"/>
                        <a:t>purchase push </a:t>
                      </a:r>
                      <a:r>
                        <a:rPr lang="en-US" sz="900" dirty="0"/>
                        <a:t>by highlighting the discounts / offers whenever sales or offers are live on the website</a:t>
                      </a:r>
                      <a:endParaRPr lang="en-US" sz="900" b="0" dirty="0"/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600200" lvl="8" indent="-17780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Peer 5 and Peer 4 have product ads </a:t>
                      </a:r>
                      <a:r>
                        <a:rPr lang="en-US" sz="900" b="1" dirty="0"/>
                        <a:t>highlighting discounts / offers and freebies </a:t>
                      </a:r>
                      <a:r>
                        <a:rPr lang="en-US" sz="900" dirty="0"/>
                        <a:t>to add a powerful purchase push for consumers across sales funnel</a:t>
                      </a:r>
                    </a:p>
                    <a:p>
                      <a:pPr marL="1600200" lvl="8" indent="-17780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Peer 2 incorporates phrases like </a:t>
                      </a:r>
                      <a:r>
                        <a:rPr lang="en-US" sz="900" b="1" i="1" dirty="0"/>
                        <a:t>“Crafted for Confidence”</a:t>
                      </a:r>
                      <a:r>
                        <a:rPr lang="en-US" sz="900" i="1" dirty="0"/>
                        <a:t> </a:t>
                      </a:r>
                      <a:r>
                        <a:rPr lang="en-US" sz="900" dirty="0"/>
                        <a:t>in its creatives that help </a:t>
                      </a:r>
                      <a:r>
                        <a:rPr lang="en-US" sz="900" b="1" dirty="0"/>
                        <a:t>establish an emotional connect with consumers </a:t>
                      </a:r>
                      <a:r>
                        <a:rPr lang="en-US" sz="900" b="0" dirty="0"/>
                        <a:t>and</a:t>
                      </a:r>
                      <a:r>
                        <a:rPr lang="en-US" sz="900" b="1" dirty="0"/>
                        <a:t> </a:t>
                      </a:r>
                      <a:r>
                        <a:rPr lang="en-US" sz="900" b="0" dirty="0"/>
                        <a:t>conveys brand’s commitment to</a:t>
                      </a:r>
                      <a:r>
                        <a:rPr lang="en-US" sz="900" b="1" dirty="0"/>
                        <a:t> inclusivity, body positivity </a:t>
                      </a:r>
                      <a:r>
                        <a:rPr lang="en-US" sz="900" b="0" dirty="0"/>
                        <a:t>and</a:t>
                      </a:r>
                      <a:r>
                        <a:rPr lang="en-US" sz="900" b="1" dirty="0"/>
                        <a:t> female empowerment</a:t>
                      </a:r>
                      <a:endParaRPr lang="en-US" sz="900" dirty="0"/>
                    </a:p>
                  </a:txBody>
                  <a:tcPr marT="91440" marB="9144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9719981"/>
                  </a:ext>
                </a:extLst>
              </a:tr>
            </a:tbl>
          </a:graphicData>
        </a:graphic>
      </p:graphicFrame>
      <p:grpSp>
        <p:nvGrpSpPr>
          <p:cNvPr id="10" name="btfpIcon782954">
            <a:extLst>
              <a:ext uri="{FF2B5EF4-FFF2-40B4-BE49-F238E27FC236}">
                <a16:creationId xmlns:a16="http://schemas.microsoft.com/office/drawing/2014/main" id="{5C25EC90-CAA4-4721-BFEF-932673E964C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565341" y="1951340"/>
            <a:ext cx="620948" cy="620949"/>
            <a:chOff x="8502615" y="1952628"/>
            <a:chExt cx="1398875" cy="1398874"/>
          </a:xfrm>
        </p:grpSpPr>
        <p:sp>
          <p:nvSpPr>
            <p:cNvPr id="11" name="btfpIconCircle782954">
              <a:extLst>
                <a:ext uri="{FF2B5EF4-FFF2-40B4-BE49-F238E27FC236}">
                  <a16:creationId xmlns:a16="http://schemas.microsoft.com/office/drawing/2014/main" id="{3290E4F1-B64B-47C3-AF53-72ECA130ECD0}"/>
                </a:ext>
              </a:extLst>
            </p:cNvPr>
            <p:cNvSpPr>
              <a:spLocks/>
            </p:cNvSpPr>
            <p:nvPr/>
          </p:nvSpPr>
          <p:spPr bwMode="gray">
            <a:xfrm>
              <a:off x="8502615" y="1952628"/>
              <a:ext cx="1398874" cy="1398874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>
                <a:solidFill>
                  <a:schemeClr val="tx1"/>
                </a:solidFill>
              </a:endParaRPr>
            </a:p>
          </p:txBody>
        </p:sp>
        <p:pic>
          <p:nvPicPr>
            <p:cNvPr id="12" name="btfpIconLines782954">
              <a:extLst>
                <a:ext uri="{FF2B5EF4-FFF2-40B4-BE49-F238E27FC236}">
                  <a16:creationId xmlns:a16="http://schemas.microsoft.com/office/drawing/2014/main" id="{D6C74F04-1907-41C5-BA80-EFBCDB52D09D}"/>
                </a:ext>
              </a:extLst>
            </p:cNvPr>
            <p:cNvPicPr>
              <a:picLocks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502616" y="1952628"/>
              <a:ext cx="1398874" cy="1398874"/>
            </a:xfrm>
            <a:prstGeom prst="rect">
              <a:avLst/>
            </a:prstGeom>
          </p:spPr>
        </p:pic>
      </p:grpSp>
      <p:grpSp>
        <p:nvGrpSpPr>
          <p:cNvPr id="13" name="btfpIcon431622">
            <a:extLst>
              <a:ext uri="{FF2B5EF4-FFF2-40B4-BE49-F238E27FC236}">
                <a16:creationId xmlns:a16="http://schemas.microsoft.com/office/drawing/2014/main" id="{B6804C6E-C497-49EA-8571-2DD65A130765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565341" y="4098572"/>
            <a:ext cx="620948" cy="620949"/>
            <a:chOff x="10593485" y="1952626"/>
            <a:chExt cx="1560716" cy="1560715"/>
          </a:xfrm>
        </p:grpSpPr>
        <p:sp>
          <p:nvSpPr>
            <p:cNvPr id="14" name="btfpIconCircle431622">
              <a:extLst>
                <a:ext uri="{FF2B5EF4-FFF2-40B4-BE49-F238E27FC236}">
                  <a16:creationId xmlns:a16="http://schemas.microsoft.com/office/drawing/2014/main" id="{C112D33D-C7F8-4AD7-A3AD-ECCB34F5AC02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93485" y="1952626"/>
              <a:ext cx="1560714" cy="1560715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>
                <a:solidFill>
                  <a:schemeClr val="tx1"/>
                </a:solidFill>
              </a:endParaRPr>
            </a:p>
          </p:txBody>
        </p:sp>
        <p:pic>
          <p:nvPicPr>
            <p:cNvPr id="15" name="btfpIconLines431622">
              <a:extLst>
                <a:ext uri="{FF2B5EF4-FFF2-40B4-BE49-F238E27FC236}">
                  <a16:creationId xmlns:a16="http://schemas.microsoft.com/office/drawing/2014/main" id="{B24DC82A-3A68-4AB5-96EC-AE22696C81D9}"/>
                </a:ext>
              </a:extLst>
            </p:cNvPr>
            <p:cNvPicPr>
              <a:picLocks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93487" y="1952626"/>
              <a:ext cx="1560714" cy="1560715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3060FFA6-84E5-F4C4-9138-1DAEA9E98C2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18742" y="1628951"/>
            <a:ext cx="1316138" cy="101563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BC57063-0671-7D2F-9012-1EE48648F7F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57925" y="2465533"/>
            <a:ext cx="1224473" cy="92260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31A0F11-C715-7427-9C97-2826F725672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865018" y="2463105"/>
            <a:ext cx="825921" cy="628104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ED9B85C0-9BEA-8430-41AC-CA5A9EF2A4A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335381" y="2801862"/>
            <a:ext cx="825921" cy="678435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D2C47B4-F2EB-490A-D99A-031ACC88B76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807615" y="1589361"/>
            <a:ext cx="1152608" cy="88863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1D85BA1-498C-70FF-C834-F2E6DD5EB46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14174" y="3568556"/>
            <a:ext cx="1368224" cy="138876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A689B3BD-097F-ADE6-4CAA-60664907EBDE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214174" y="4787105"/>
            <a:ext cx="1384495" cy="1388768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EE4E3BEE-4AC1-E19D-7303-24EE547F26B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807615" y="3558742"/>
            <a:ext cx="1461183" cy="1435321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2909FC80-360E-92F7-ED15-BC835323B6E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010854" y="4011556"/>
            <a:ext cx="1266671" cy="1311115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7C81B7B2-AC2D-4C9F-BB0A-CB47CD25676B}"/>
              </a:ext>
            </a:extLst>
          </p:cNvPr>
          <p:cNvSpPr/>
          <p:nvPr/>
        </p:nvSpPr>
        <p:spPr bwMode="gray">
          <a:xfrm>
            <a:off x="8254008" y="3874771"/>
            <a:ext cx="326652" cy="108422"/>
          </a:xfrm>
          <a:prstGeom prst="rect">
            <a:avLst/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DBCED99-7171-CBC1-BDFC-13D72A262718}"/>
              </a:ext>
            </a:extLst>
          </p:cNvPr>
          <p:cNvSpPr/>
          <p:nvPr/>
        </p:nvSpPr>
        <p:spPr bwMode="gray">
          <a:xfrm>
            <a:off x="8068658" y="4319176"/>
            <a:ext cx="1151061" cy="128608"/>
          </a:xfrm>
          <a:prstGeom prst="rect">
            <a:avLst/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AE541EAB-1BDE-FBD0-6FFD-B74ECBD0B301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826454" y="5154985"/>
            <a:ext cx="1114930" cy="1138797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FC3822F0-E9E9-A07C-C159-5DA6C82FC83D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339309" y="4727054"/>
            <a:ext cx="998870" cy="913672"/>
          </a:xfrm>
          <a:prstGeom prst="rect">
            <a:avLst/>
          </a:prstGeom>
        </p:spPr>
      </p:pic>
      <p:sp>
        <p:nvSpPr>
          <p:cNvPr id="54" name="btfpNotesBox612105">
            <a:extLst>
              <a:ext uri="{FF2B5EF4-FFF2-40B4-BE49-F238E27FC236}">
                <a16:creationId xmlns:a16="http://schemas.microsoft.com/office/drawing/2014/main" id="{EDB03831-C3E5-1D29-4BA4-36A720AA6E4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buNone/>
            </a:pPr>
            <a:r>
              <a:rPr lang="en-US" sz="800" dirty="0"/>
              <a:t>Source: Meta Ads Library accessed on January 11, 2024</a:t>
            </a:r>
          </a:p>
        </p:txBody>
      </p:sp>
      <p:grpSp>
        <p:nvGrpSpPr>
          <p:cNvPr id="32" name="btfpRunningAgenda2Level294467">
            <a:extLst>
              <a:ext uri="{FF2B5EF4-FFF2-40B4-BE49-F238E27FC236}">
                <a16:creationId xmlns:a16="http://schemas.microsoft.com/office/drawing/2014/main" id="{BE3C8A4A-FFFC-D731-EE44-ECEC9699B41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3737297" cy="257442"/>
            <a:chOff x="0" y="876300"/>
            <a:chExt cx="3737297" cy="257442"/>
          </a:xfrm>
        </p:grpSpPr>
        <p:sp>
          <p:nvSpPr>
            <p:cNvPr id="37" name="btfpRunningAgenda2LevelBarLeft294467">
              <a:extLst>
                <a:ext uri="{FF2B5EF4-FFF2-40B4-BE49-F238E27FC236}">
                  <a16:creationId xmlns:a16="http://schemas.microsoft.com/office/drawing/2014/main" id="{5FA0374A-6A86-88C9-7286-473201E55407}"/>
                </a:ext>
              </a:extLst>
            </p:cNvPr>
            <p:cNvSpPr/>
            <p:nvPr/>
          </p:nvSpPr>
          <p:spPr bwMode="gray">
            <a:xfrm>
              <a:off x="1" y="876300"/>
              <a:ext cx="2592724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20719 w 1120719"/>
                <a:gd name="connsiteY0" fmla="*/ 0 h 257442"/>
                <a:gd name="connsiteX1" fmla="*/ 888065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120719 w 1120719"/>
                <a:gd name="connsiteY0" fmla="*/ 0 h 257442"/>
                <a:gd name="connsiteX1" fmla="*/ 1065998 w 1120719"/>
                <a:gd name="connsiteY1" fmla="*/ 257442 h 257442"/>
                <a:gd name="connsiteX2" fmla="*/ 0 w 1120719"/>
                <a:gd name="connsiteY2" fmla="*/ 257442 h 257442"/>
                <a:gd name="connsiteX3" fmla="*/ 0 w 1120719"/>
                <a:gd name="connsiteY3" fmla="*/ 0 h 257442"/>
                <a:gd name="connsiteX0" fmla="*/ 1289034 w 1289034"/>
                <a:gd name="connsiteY0" fmla="*/ 0 h 257442"/>
                <a:gd name="connsiteX1" fmla="*/ 1065998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4 w 1289034"/>
                <a:gd name="connsiteY0" fmla="*/ 0 h 257442"/>
                <a:gd name="connsiteX1" fmla="*/ 1234312 w 1289034"/>
                <a:gd name="connsiteY1" fmla="*/ 257442 h 257442"/>
                <a:gd name="connsiteX2" fmla="*/ 0 w 1289034"/>
                <a:gd name="connsiteY2" fmla="*/ 257442 h 257442"/>
                <a:gd name="connsiteX3" fmla="*/ 0 w 1289034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289035 w 1289035"/>
                <a:gd name="connsiteY0" fmla="*/ 0 h 257442"/>
                <a:gd name="connsiteX1" fmla="*/ 1234313 w 1289035"/>
                <a:gd name="connsiteY1" fmla="*/ 257442 h 257442"/>
                <a:gd name="connsiteX2" fmla="*/ 0 w 1289035"/>
                <a:gd name="connsiteY2" fmla="*/ 257442 h 257442"/>
                <a:gd name="connsiteX3" fmla="*/ 1 w 1289035"/>
                <a:gd name="connsiteY3" fmla="*/ 0 h 257442"/>
                <a:gd name="connsiteX0" fmla="*/ 1390025 w 1390025"/>
                <a:gd name="connsiteY0" fmla="*/ 0 h 257442"/>
                <a:gd name="connsiteX1" fmla="*/ 1234313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0 w 1390025"/>
                <a:gd name="connsiteY2" fmla="*/ 257442 h 257442"/>
                <a:gd name="connsiteX3" fmla="*/ 1 w 1390025"/>
                <a:gd name="connsiteY3" fmla="*/ 0 h 257442"/>
                <a:gd name="connsiteX0" fmla="*/ 1390024 w 1390024"/>
                <a:gd name="connsiteY0" fmla="*/ 0 h 257442"/>
                <a:gd name="connsiteX1" fmla="*/ 1335303 w 1390024"/>
                <a:gd name="connsiteY1" fmla="*/ 257442 h 257442"/>
                <a:gd name="connsiteX2" fmla="*/ 0 w 1390024"/>
                <a:gd name="connsiteY2" fmla="*/ 257442 h 257442"/>
                <a:gd name="connsiteX3" fmla="*/ 0 w 1390024"/>
                <a:gd name="connsiteY3" fmla="*/ 0 h 257442"/>
                <a:gd name="connsiteX0" fmla="*/ 1390025 w 1390025"/>
                <a:gd name="connsiteY0" fmla="*/ 0 h 257442"/>
                <a:gd name="connsiteX1" fmla="*/ 1335304 w 1390025"/>
                <a:gd name="connsiteY1" fmla="*/ 257442 h 257442"/>
                <a:gd name="connsiteX2" fmla="*/ 1 w 1390025"/>
                <a:gd name="connsiteY2" fmla="*/ 257442 h 257442"/>
                <a:gd name="connsiteX3" fmla="*/ 0 w 1390025"/>
                <a:gd name="connsiteY3" fmla="*/ 0 h 257442"/>
                <a:gd name="connsiteX0" fmla="*/ 1558340 w 1558340"/>
                <a:gd name="connsiteY0" fmla="*/ 0 h 257442"/>
                <a:gd name="connsiteX1" fmla="*/ 1335304 w 1558340"/>
                <a:gd name="connsiteY1" fmla="*/ 257442 h 257442"/>
                <a:gd name="connsiteX2" fmla="*/ 1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1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0 w 1558340"/>
                <a:gd name="connsiteY2" fmla="*/ 257442 h 257442"/>
                <a:gd name="connsiteX3" fmla="*/ 0 w 1558340"/>
                <a:gd name="connsiteY3" fmla="*/ 0 h 257442"/>
                <a:gd name="connsiteX0" fmla="*/ 1558340 w 1558340"/>
                <a:gd name="connsiteY0" fmla="*/ 0 h 257442"/>
                <a:gd name="connsiteX1" fmla="*/ 1503618 w 1558340"/>
                <a:gd name="connsiteY1" fmla="*/ 257442 h 257442"/>
                <a:gd name="connsiteX2" fmla="*/ 0 w 1558340"/>
                <a:gd name="connsiteY2" fmla="*/ 257442 h 257442"/>
                <a:gd name="connsiteX3" fmla="*/ 0 w 1558340"/>
                <a:gd name="connsiteY3" fmla="*/ 0 h 257442"/>
                <a:gd name="connsiteX0" fmla="*/ 1710625 w 1710625"/>
                <a:gd name="connsiteY0" fmla="*/ 0 h 257442"/>
                <a:gd name="connsiteX1" fmla="*/ 1503618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808857 w 1808857"/>
                <a:gd name="connsiteY0" fmla="*/ 0 h 257442"/>
                <a:gd name="connsiteX1" fmla="*/ 1655904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808857 w 1808857"/>
                <a:gd name="connsiteY0" fmla="*/ 0 h 257442"/>
                <a:gd name="connsiteX1" fmla="*/ 1754136 w 1808857"/>
                <a:gd name="connsiteY1" fmla="*/ 257442 h 257442"/>
                <a:gd name="connsiteX2" fmla="*/ 0 w 1808857"/>
                <a:gd name="connsiteY2" fmla="*/ 257442 h 257442"/>
                <a:gd name="connsiteX3" fmla="*/ 0 w 1808857"/>
                <a:gd name="connsiteY3" fmla="*/ 0 h 257442"/>
                <a:gd name="connsiteX0" fmla="*/ 1994805 w 1994805"/>
                <a:gd name="connsiteY0" fmla="*/ 0 h 257442"/>
                <a:gd name="connsiteX1" fmla="*/ 1754136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1994805 w 1994805"/>
                <a:gd name="connsiteY0" fmla="*/ 0 h 257442"/>
                <a:gd name="connsiteX1" fmla="*/ 1940084 w 1994805"/>
                <a:gd name="connsiteY1" fmla="*/ 257442 h 257442"/>
                <a:gd name="connsiteX2" fmla="*/ 0 w 1994805"/>
                <a:gd name="connsiteY2" fmla="*/ 257442 h 257442"/>
                <a:gd name="connsiteX3" fmla="*/ 0 w 1994805"/>
                <a:gd name="connsiteY3" fmla="*/ 0 h 257442"/>
                <a:gd name="connsiteX0" fmla="*/ 2155105 w 2155105"/>
                <a:gd name="connsiteY0" fmla="*/ 0 h 257442"/>
                <a:gd name="connsiteX1" fmla="*/ 19400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155105 w 2155105"/>
                <a:gd name="connsiteY0" fmla="*/ 0 h 257442"/>
                <a:gd name="connsiteX1" fmla="*/ 2100384 w 2155105"/>
                <a:gd name="connsiteY1" fmla="*/ 257442 h 257442"/>
                <a:gd name="connsiteX2" fmla="*/ 0 w 2155105"/>
                <a:gd name="connsiteY2" fmla="*/ 257442 h 257442"/>
                <a:gd name="connsiteX3" fmla="*/ 0 w 2155105"/>
                <a:gd name="connsiteY3" fmla="*/ 0 h 257442"/>
                <a:gd name="connsiteX0" fmla="*/ 2323420 w 2323420"/>
                <a:gd name="connsiteY0" fmla="*/ 0 h 257442"/>
                <a:gd name="connsiteX1" fmla="*/ 2100384 w 2323420"/>
                <a:gd name="connsiteY1" fmla="*/ 257442 h 257442"/>
                <a:gd name="connsiteX2" fmla="*/ 0 w 2323420"/>
                <a:gd name="connsiteY2" fmla="*/ 257442 h 257442"/>
                <a:gd name="connsiteX3" fmla="*/ 0 w 2323420"/>
                <a:gd name="connsiteY3" fmla="*/ 0 h 257442"/>
                <a:gd name="connsiteX0" fmla="*/ 2323420 w 2323420"/>
                <a:gd name="connsiteY0" fmla="*/ 0 h 257442"/>
                <a:gd name="connsiteX1" fmla="*/ 2268698 w 2323420"/>
                <a:gd name="connsiteY1" fmla="*/ 257442 h 257442"/>
                <a:gd name="connsiteX2" fmla="*/ 0 w 2323420"/>
                <a:gd name="connsiteY2" fmla="*/ 257442 h 257442"/>
                <a:gd name="connsiteX3" fmla="*/ 0 w 2323420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1 w 2323421"/>
                <a:gd name="connsiteY3" fmla="*/ 0 h 257442"/>
                <a:gd name="connsiteX0" fmla="*/ 2323421 w 2323421"/>
                <a:gd name="connsiteY0" fmla="*/ 0 h 257442"/>
                <a:gd name="connsiteX1" fmla="*/ 2268699 w 2323421"/>
                <a:gd name="connsiteY1" fmla="*/ 257442 h 257442"/>
                <a:gd name="connsiteX2" fmla="*/ 0 w 2323421"/>
                <a:gd name="connsiteY2" fmla="*/ 257442 h 257442"/>
                <a:gd name="connsiteX3" fmla="*/ 1 w 2323421"/>
                <a:gd name="connsiteY3" fmla="*/ 0 h 257442"/>
                <a:gd name="connsiteX0" fmla="*/ 2424411 w 2424411"/>
                <a:gd name="connsiteY0" fmla="*/ 0 h 257442"/>
                <a:gd name="connsiteX1" fmla="*/ 2268699 w 2424411"/>
                <a:gd name="connsiteY1" fmla="*/ 257442 h 257442"/>
                <a:gd name="connsiteX2" fmla="*/ 0 w 2424411"/>
                <a:gd name="connsiteY2" fmla="*/ 257442 h 257442"/>
                <a:gd name="connsiteX3" fmla="*/ 1 w 2424411"/>
                <a:gd name="connsiteY3" fmla="*/ 0 h 257442"/>
                <a:gd name="connsiteX0" fmla="*/ 2424411 w 2424411"/>
                <a:gd name="connsiteY0" fmla="*/ 0 h 257442"/>
                <a:gd name="connsiteX1" fmla="*/ 2369690 w 2424411"/>
                <a:gd name="connsiteY1" fmla="*/ 257442 h 257442"/>
                <a:gd name="connsiteX2" fmla="*/ 0 w 2424411"/>
                <a:gd name="connsiteY2" fmla="*/ 257442 h 257442"/>
                <a:gd name="connsiteX3" fmla="*/ 1 w 2424411"/>
                <a:gd name="connsiteY3" fmla="*/ 0 h 257442"/>
                <a:gd name="connsiteX0" fmla="*/ 2424410 w 2424410"/>
                <a:gd name="connsiteY0" fmla="*/ 0 h 257442"/>
                <a:gd name="connsiteX1" fmla="*/ 2369689 w 2424410"/>
                <a:gd name="connsiteY1" fmla="*/ 257442 h 257442"/>
                <a:gd name="connsiteX2" fmla="*/ 0 w 2424410"/>
                <a:gd name="connsiteY2" fmla="*/ 257442 h 257442"/>
                <a:gd name="connsiteX3" fmla="*/ 0 w 2424410"/>
                <a:gd name="connsiteY3" fmla="*/ 0 h 257442"/>
                <a:gd name="connsiteX0" fmla="*/ 2424411 w 2424411"/>
                <a:gd name="connsiteY0" fmla="*/ 0 h 257442"/>
                <a:gd name="connsiteX1" fmla="*/ 2369690 w 2424411"/>
                <a:gd name="connsiteY1" fmla="*/ 257442 h 257442"/>
                <a:gd name="connsiteX2" fmla="*/ 1 w 2424411"/>
                <a:gd name="connsiteY2" fmla="*/ 257442 h 257442"/>
                <a:gd name="connsiteX3" fmla="*/ 0 w 2424411"/>
                <a:gd name="connsiteY3" fmla="*/ 0 h 257442"/>
                <a:gd name="connsiteX0" fmla="*/ 2592725 w 2592725"/>
                <a:gd name="connsiteY0" fmla="*/ 0 h 257442"/>
                <a:gd name="connsiteX1" fmla="*/ 2369690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5 w 2592725"/>
                <a:gd name="connsiteY0" fmla="*/ 0 h 257442"/>
                <a:gd name="connsiteX1" fmla="*/ 2538004 w 2592725"/>
                <a:gd name="connsiteY1" fmla="*/ 257442 h 257442"/>
                <a:gd name="connsiteX2" fmla="*/ 1 w 2592725"/>
                <a:gd name="connsiteY2" fmla="*/ 257442 h 257442"/>
                <a:gd name="connsiteX3" fmla="*/ 0 w 2592725"/>
                <a:gd name="connsiteY3" fmla="*/ 0 h 257442"/>
                <a:gd name="connsiteX0" fmla="*/ 2592724 w 2592724"/>
                <a:gd name="connsiteY0" fmla="*/ 0 h 257442"/>
                <a:gd name="connsiteX1" fmla="*/ 2538003 w 2592724"/>
                <a:gd name="connsiteY1" fmla="*/ 257442 h 257442"/>
                <a:gd name="connsiteX2" fmla="*/ 0 w 2592724"/>
                <a:gd name="connsiteY2" fmla="*/ 257442 h 257442"/>
                <a:gd name="connsiteX3" fmla="*/ 0 w 259272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92724" h="257442">
                  <a:moveTo>
                    <a:pt x="2592724" y="0"/>
                  </a:moveTo>
                  <a:lnTo>
                    <a:pt x="2538003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1" name="btfpRunningAgenda2LevelTextLeft294467">
              <a:extLst>
                <a:ext uri="{FF2B5EF4-FFF2-40B4-BE49-F238E27FC236}">
                  <a16:creationId xmlns:a16="http://schemas.microsoft.com/office/drawing/2014/main" id="{2D46729A-D9CA-576B-503A-87C7DE9254A6}"/>
                </a:ext>
              </a:extLst>
            </p:cNvPr>
            <p:cNvSpPr txBox="1"/>
            <p:nvPr/>
          </p:nvSpPr>
          <p:spPr bwMode="gray">
            <a:xfrm>
              <a:off x="0" y="876300"/>
              <a:ext cx="2538003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Social media</a:t>
              </a:r>
            </a:p>
          </p:txBody>
        </p:sp>
        <p:sp>
          <p:nvSpPr>
            <p:cNvPr id="44" name="btfpRunningAgenda2LevelBarRight294467">
              <a:extLst>
                <a:ext uri="{FF2B5EF4-FFF2-40B4-BE49-F238E27FC236}">
                  <a16:creationId xmlns:a16="http://schemas.microsoft.com/office/drawing/2014/main" id="{FAF698E4-55C4-3FD3-A376-956EBEC2ECFF}"/>
                </a:ext>
              </a:extLst>
            </p:cNvPr>
            <p:cNvSpPr/>
            <p:nvPr/>
          </p:nvSpPr>
          <p:spPr bwMode="gray">
            <a:xfrm>
              <a:off x="2457881" y="876300"/>
              <a:ext cx="1279416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54721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2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279416 w 1279416"/>
                <a:gd name="connsiteY0" fmla="*/ 0 h 257442"/>
                <a:gd name="connsiteX1" fmla="*/ 10643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9416" h="257442">
                  <a:moveTo>
                    <a:pt x="1279416" y="0"/>
                  </a:moveTo>
                  <a:lnTo>
                    <a:pt x="1224695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9" name="btfpRunningAgenda2LevelTextRight294467">
              <a:extLst>
                <a:ext uri="{FF2B5EF4-FFF2-40B4-BE49-F238E27FC236}">
                  <a16:creationId xmlns:a16="http://schemas.microsoft.com/office/drawing/2014/main" id="{E2D245DE-780D-0990-1C18-ABC93F3922E1}"/>
                </a:ext>
              </a:extLst>
            </p:cNvPr>
            <p:cNvSpPr txBox="1"/>
            <p:nvPr/>
          </p:nvSpPr>
          <p:spPr bwMode="gray">
            <a:xfrm>
              <a:off x="2457881" y="876300"/>
              <a:ext cx="122469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ads</a:t>
              </a:r>
            </a:p>
          </p:txBody>
        </p:sp>
      </p:grpSp>
      <p:sp>
        <p:nvSpPr>
          <p:cNvPr id="55" name="Title 1">
            <a:extLst>
              <a:ext uri="{FF2B5EF4-FFF2-40B4-BE49-F238E27FC236}">
                <a16:creationId xmlns:a16="http://schemas.microsoft.com/office/drawing/2014/main" id="{F335FA8A-1F83-A567-1505-FA6FAF248C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1"/>
            <a:ext cx="11857038" cy="876687"/>
          </a:xfrm>
        </p:spPr>
        <p:txBody>
          <a:bodyPr vert="horz"/>
          <a:lstStyle/>
          <a:p>
            <a:r>
              <a:rPr lang="en-US" b="1" dirty="0"/>
              <a:t>Creative quality: </a:t>
            </a:r>
            <a:r>
              <a:rPr lang="en-US" dirty="0"/>
              <a:t>Good quality ads with appealing visuals &amp; clear messaging; scope to target the ads better (occasions/ customer segments), mention any offers/ discounts </a:t>
            </a:r>
            <a:r>
              <a:rPr lang="en-US" sz="1000" dirty="0"/>
              <a:t>(2/2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036550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FFF321B-8C5B-119C-F15A-F9A9985408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2800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FF321B-8C5B-119C-F15A-F9A9985408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1" name="btfpColumnIndicatorGroup2">
            <a:extLst>
              <a:ext uri="{FF2B5EF4-FFF2-40B4-BE49-F238E27FC236}">
                <a16:creationId xmlns:a16="http://schemas.microsoft.com/office/drawing/2014/main" id="{EF761B51-5172-9202-BD10-6201CE8FA15B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9" name="btfpColumnGapBlocker146835">
              <a:extLst>
                <a:ext uri="{FF2B5EF4-FFF2-40B4-BE49-F238E27FC236}">
                  <a16:creationId xmlns:a16="http://schemas.microsoft.com/office/drawing/2014/main" id="{EF2321D1-E51C-98B8-AB23-01CFEB615E97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4" name="btfpColumnGapBlocker579313">
              <a:extLst>
                <a:ext uri="{FF2B5EF4-FFF2-40B4-BE49-F238E27FC236}">
                  <a16:creationId xmlns:a16="http://schemas.microsoft.com/office/drawing/2014/main" id="{39501B14-F891-5A80-8657-C002B8FB1D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7" name="btfpColumnIndicator118798">
              <a:extLst>
                <a:ext uri="{FF2B5EF4-FFF2-40B4-BE49-F238E27FC236}">
                  <a16:creationId xmlns:a16="http://schemas.microsoft.com/office/drawing/2014/main" id="{B92DE100-99C1-456C-D0B5-DD65B6A14DC2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btfpColumnIndicator366218">
              <a:extLst>
                <a:ext uri="{FF2B5EF4-FFF2-40B4-BE49-F238E27FC236}">
                  <a16:creationId xmlns:a16="http://schemas.microsoft.com/office/drawing/2014/main" id="{86AF4561-40E7-3826-6658-DC1599E8E78C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btfpColumnIndicatorGroup1">
            <a:extLst>
              <a:ext uri="{FF2B5EF4-FFF2-40B4-BE49-F238E27FC236}">
                <a16:creationId xmlns:a16="http://schemas.microsoft.com/office/drawing/2014/main" id="{EE386844-C430-64BD-26DD-0701BBE1F1B2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8" name="btfpColumnGapBlocker893185">
              <a:extLst>
                <a:ext uri="{FF2B5EF4-FFF2-40B4-BE49-F238E27FC236}">
                  <a16:creationId xmlns:a16="http://schemas.microsoft.com/office/drawing/2014/main" id="{52910741-44C4-9368-DF82-436F6CDA623F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2" name="btfpColumnGapBlocker391033">
              <a:extLst>
                <a:ext uri="{FF2B5EF4-FFF2-40B4-BE49-F238E27FC236}">
                  <a16:creationId xmlns:a16="http://schemas.microsoft.com/office/drawing/2014/main" id="{5D3F9277-F814-970D-2B02-1E2DD19F5676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6" name="btfpColumnIndicator219529">
              <a:extLst>
                <a:ext uri="{FF2B5EF4-FFF2-40B4-BE49-F238E27FC236}">
                  <a16:creationId xmlns:a16="http://schemas.microsoft.com/office/drawing/2014/main" id="{0D7C66CA-FD8A-0E15-7E6C-B9293FA631A8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btfpColumnIndicator739411">
              <a:extLst>
                <a:ext uri="{FF2B5EF4-FFF2-40B4-BE49-F238E27FC236}">
                  <a16:creationId xmlns:a16="http://schemas.microsoft.com/office/drawing/2014/main" id="{CDFF40DD-7BD8-E927-FF12-603EBCB4EB9B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3CD9E7A-2C48-45D0-B2AA-06261B1AB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/>
              <a:t>Influencer marketing: </a:t>
            </a:r>
            <a:r>
              <a:rPr lang="en-US" dirty="0"/>
              <a:t>Target has the highest # of influencers vs. pure-play swimwear brands, however, lags slightly on ‘engagement rate’ on influencer content</a:t>
            </a:r>
            <a:endParaRPr lang="en-US" spc="-10" dirty="0"/>
          </a:p>
        </p:txBody>
      </p:sp>
      <p:grpSp>
        <p:nvGrpSpPr>
          <p:cNvPr id="30" name="btfpRunningAgenda1Level188110">
            <a:extLst>
              <a:ext uri="{FF2B5EF4-FFF2-40B4-BE49-F238E27FC236}">
                <a16:creationId xmlns:a16="http://schemas.microsoft.com/office/drawing/2014/main" id="{287BE7D5-03DB-6BD2-C816-0E3CA1F9BF7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0" y="944429"/>
            <a:ext cx="3901929" cy="257442"/>
            <a:chOff x="0" y="876300"/>
            <a:chExt cx="3901929" cy="257442"/>
          </a:xfrm>
        </p:grpSpPr>
        <p:sp>
          <p:nvSpPr>
            <p:cNvPr id="29" name="btfpRunningAgenda1LevelBarLeft188110">
              <a:extLst>
                <a:ext uri="{FF2B5EF4-FFF2-40B4-BE49-F238E27FC236}">
                  <a16:creationId xmlns:a16="http://schemas.microsoft.com/office/drawing/2014/main" id="{1DED74C4-E8C5-ED4E-D8E2-97201C32AFFE}"/>
                </a:ext>
              </a:extLst>
            </p:cNvPr>
            <p:cNvSpPr/>
            <p:nvPr/>
          </p:nvSpPr>
          <p:spPr bwMode="gray">
            <a:xfrm>
              <a:off x="0" y="876300"/>
              <a:ext cx="3901929" cy="257442"/>
            </a:xfrm>
            <a:custGeom>
              <a:avLst/>
              <a:gdLst>
                <a:gd name="connsiteX0" fmla="*/ 883475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883475 w 1816204"/>
                <a:gd name="connsiteY0" fmla="*/ 0 h 257442"/>
                <a:gd name="connsiteX1" fmla="*/ 828755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883475 w 883475"/>
                <a:gd name="connsiteY0" fmla="*/ 0 h 257442"/>
                <a:gd name="connsiteX1" fmla="*/ 828755 w 883475"/>
                <a:gd name="connsiteY1" fmla="*/ 257442 h 257442"/>
                <a:gd name="connsiteX2" fmla="*/ 1 w 883475"/>
                <a:gd name="connsiteY2" fmla="*/ 257442 h 257442"/>
                <a:gd name="connsiteX3" fmla="*/ 0 w 883475"/>
                <a:gd name="connsiteY3" fmla="*/ 257442 h 257442"/>
                <a:gd name="connsiteX0" fmla="*/ 883474 w 883474"/>
                <a:gd name="connsiteY0" fmla="*/ 0 h 257442"/>
                <a:gd name="connsiteX1" fmla="*/ 828754 w 883474"/>
                <a:gd name="connsiteY1" fmla="*/ 257442 h 257442"/>
                <a:gd name="connsiteX2" fmla="*/ 0 w 883474"/>
                <a:gd name="connsiteY2" fmla="*/ 257442 h 257442"/>
                <a:gd name="connsiteX3" fmla="*/ 1 w 883474"/>
                <a:gd name="connsiteY3" fmla="*/ 0 h 257442"/>
                <a:gd name="connsiteX0" fmla="*/ 1051790 w 1051790"/>
                <a:gd name="connsiteY0" fmla="*/ 0 h 257442"/>
                <a:gd name="connsiteX1" fmla="*/ 828754 w 1051790"/>
                <a:gd name="connsiteY1" fmla="*/ 257442 h 257442"/>
                <a:gd name="connsiteX2" fmla="*/ 0 w 1051790"/>
                <a:gd name="connsiteY2" fmla="*/ 257442 h 257442"/>
                <a:gd name="connsiteX3" fmla="*/ 1 w 1051790"/>
                <a:gd name="connsiteY3" fmla="*/ 0 h 257442"/>
                <a:gd name="connsiteX0" fmla="*/ 1051790 w 1051790"/>
                <a:gd name="connsiteY0" fmla="*/ 0 h 257442"/>
                <a:gd name="connsiteX1" fmla="*/ 997069 w 1051790"/>
                <a:gd name="connsiteY1" fmla="*/ 257442 h 257442"/>
                <a:gd name="connsiteX2" fmla="*/ 0 w 1051790"/>
                <a:gd name="connsiteY2" fmla="*/ 257442 h 257442"/>
                <a:gd name="connsiteX3" fmla="*/ 1 w 1051790"/>
                <a:gd name="connsiteY3" fmla="*/ 0 h 257442"/>
                <a:gd name="connsiteX0" fmla="*/ 1051790 w 1051790"/>
                <a:gd name="connsiteY0" fmla="*/ 0 h 257442"/>
                <a:gd name="connsiteX1" fmla="*/ 997069 w 1051790"/>
                <a:gd name="connsiteY1" fmla="*/ 257442 h 257442"/>
                <a:gd name="connsiteX2" fmla="*/ 0 w 1051790"/>
                <a:gd name="connsiteY2" fmla="*/ 257442 h 257442"/>
                <a:gd name="connsiteX3" fmla="*/ 1 w 1051790"/>
                <a:gd name="connsiteY3" fmla="*/ 0 h 257442"/>
                <a:gd name="connsiteX0" fmla="*/ 1051790 w 1051790"/>
                <a:gd name="connsiteY0" fmla="*/ 0 h 257442"/>
                <a:gd name="connsiteX1" fmla="*/ 997069 w 1051790"/>
                <a:gd name="connsiteY1" fmla="*/ 257442 h 257442"/>
                <a:gd name="connsiteX2" fmla="*/ 0 w 1051790"/>
                <a:gd name="connsiteY2" fmla="*/ 257442 h 257442"/>
                <a:gd name="connsiteX3" fmla="*/ 0 w 1051790"/>
                <a:gd name="connsiteY3" fmla="*/ 0 h 257442"/>
                <a:gd name="connsiteX0" fmla="*/ 1356360 w 1356360"/>
                <a:gd name="connsiteY0" fmla="*/ 0 h 257442"/>
                <a:gd name="connsiteX1" fmla="*/ 997069 w 1356360"/>
                <a:gd name="connsiteY1" fmla="*/ 257442 h 257442"/>
                <a:gd name="connsiteX2" fmla="*/ 0 w 1356360"/>
                <a:gd name="connsiteY2" fmla="*/ 257442 h 257442"/>
                <a:gd name="connsiteX3" fmla="*/ 0 w 1356360"/>
                <a:gd name="connsiteY3" fmla="*/ 0 h 257442"/>
                <a:gd name="connsiteX0" fmla="*/ 1356360 w 1356360"/>
                <a:gd name="connsiteY0" fmla="*/ 0 h 257442"/>
                <a:gd name="connsiteX1" fmla="*/ 1301639 w 1356360"/>
                <a:gd name="connsiteY1" fmla="*/ 257442 h 257442"/>
                <a:gd name="connsiteX2" fmla="*/ 0 w 1356360"/>
                <a:gd name="connsiteY2" fmla="*/ 257442 h 257442"/>
                <a:gd name="connsiteX3" fmla="*/ 0 w 1356360"/>
                <a:gd name="connsiteY3" fmla="*/ 0 h 257442"/>
                <a:gd name="connsiteX0" fmla="*/ 1356360 w 1356360"/>
                <a:gd name="connsiteY0" fmla="*/ 0 h 257442"/>
                <a:gd name="connsiteX1" fmla="*/ 1301639 w 1356360"/>
                <a:gd name="connsiteY1" fmla="*/ 257442 h 257442"/>
                <a:gd name="connsiteX2" fmla="*/ 0 w 1356360"/>
                <a:gd name="connsiteY2" fmla="*/ 257442 h 257442"/>
                <a:gd name="connsiteX3" fmla="*/ 0 w 1356360"/>
                <a:gd name="connsiteY3" fmla="*/ 0 h 257442"/>
                <a:gd name="connsiteX0" fmla="*/ 1356360 w 1356360"/>
                <a:gd name="connsiteY0" fmla="*/ 0 h 257442"/>
                <a:gd name="connsiteX1" fmla="*/ 1301639 w 1356360"/>
                <a:gd name="connsiteY1" fmla="*/ 257442 h 257442"/>
                <a:gd name="connsiteX2" fmla="*/ 0 w 1356360"/>
                <a:gd name="connsiteY2" fmla="*/ 257442 h 257442"/>
                <a:gd name="connsiteX3" fmla="*/ 0 w 1356360"/>
                <a:gd name="connsiteY3" fmla="*/ 0 h 257442"/>
                <a:gd name="connsiteX0" fmla="*/ 1524676 w 1524676"/>
                <a:gd name="connsiteY0" fmla="*/ 0 h 257442"/>
                <a:gd name="connsiteX1" fmla="*/ 1301639 w 1524676"/>
                <a:gd name="connsiteY1" fmla="*/ 257442 h 257442"/>
                <a:gd name="connsiteX2" fmla="*/ 0 w 1524676"/>
                <a:gd name="connsiteY2" fmla="*/ 257442 h 257442"/>
                <a:gd name="connsiteX3" fmla="*/ 0 w 1524676"/>
                <a:gd name="connsiteY3" fmla="*/ 0 h 257442"/>
                <a:gd name="connsiteX0" fmla="*/ 1524676 w 1524676"/>
                <a:gd name="connsiteY0" fmla="*/ 0 h 257442"/>
                <a:gd name="connsiteX1" fmla="*/ 1469955 w 1524676"/>
                <a:gd name="connsiteY1" fmla="*/ 257442 h 257442"/>
                <a:gd name="connsiteX2" fmla="*/ 0 w 1524676"/>
                <a:gd name="connsiteY2" fmla="*/ 257442 h 257442"/>
                <a:gd name="connsiteX3" fmla="*/ 0 w 1524676"/>
                <a:gd name="connsiteY3" fmla="*/ 0 h 257442"/>
                <a:gd name="connsiteX0" fmla="*/ 1524676 w 1524676"/>
                <a:gd name="connsiteY0" fmla="*/ 0 h 257442"/>
                <a:gd name="connsiteX1" fmla="*/ 1469955 w 1524676"/>
                <a:gd name="connsiteY1" fmla="*/ 257442 h 257442"/>
                <a:gd name="connsiteX2" fmla="*/ 0 w 1524676"/>
                <a:gd name="connsiteY2" fmla="*/ 257442 h 257442"/>
                <a:gd name="connsiteX3" fmla="*/ 0 w 1524676"/>
                <a:gd name="connsiteY3" fmla="*/ 0 h 257442"/>
                <a:gd name="connsiteX0" fmla="*/ 1524676 w 1524676"/>
                <a:gd name="connsiteY0" fmla="*/ 0 h 257442"/>
                <a:gd name="connsiteX1" fmla="*/ 1469955 w 1524676"/>
                <a:gd name="connsiteY1" fmla="*/ 257442 h 257442"/>
                <a:gd name="connsiteX2" fmla="*/ 0 w 1524676"/>
                <a:gd name="connsiteY2" fmla="*/ 257442 h 257442"/>
                <a:gd name="connsiteX3" fmla="*/ 0 w 1524676"/>
                <a:gd name="connsiteY3" fmla="*/ 0 h 257442"/>
                <a:gd name="connsiteX0" fmla="*/ 1684976 w 1684976"/>
                <a:gd name="connsiteY0" fmla="*/ 0 h 257442"/>
                <a:gd name="connsiteX1" fmla="*/ 14699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853291 w 1853291"/>
                <a:gd name="connsiteY0" fmla="*/ 0 h 257442"/>
                <a:gd name="connsiteX1" fmla="*/ 1630255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2021607 w 2021607"/>
                <a:gd name="connsiteY0" fmla="*/ 0 h 257442"/>
                <a:gd name="connsiteX1" fmla="*/ 1798570 w 2021607"/>
                <a:gd name="connsiteY1" fmla="*/ 257442 h 257442"/>
                <a:gd name="connsiteX2" fmla="*/ 0 w 2021607"/>
                <a:gd name="connsiteY2" fmla="*/ 257442 h 257442"/>
                <a:gd name="connsiteX3" fmla="*/ 0 w 2021607"/>
                <a:gd name="connsiteY3" fmla="*/ 0 h 257442"/>
                <a:gd name="connsiteX0" fmla="*/ 2021607 w 2021607"/>
                <a:gd name="connsiteY0" fmla="*/ 0 h 257442"/>
                <a:gd name="connsiteX1" fmla="*/ 1966886 w 2021607"/>
                <a:gd name="connsiteY1" fmla="*/ 257442 h 257442"/>
                <a:gd name="connsiteX2" fmla="*/ 0 w 2021607"/>
                <a:gd name="connsiteY2" fmla="*/ 257442 h 257442"/>
                <a:gd name="connsiteX3" fmla="*/ 0 w 2021607"/>
                <a:gd name="connsiteY3" fmla="*/ 0 h 257442"/>
                <a:gd name="connsiteX0" fmla="*/ 2021607 w 2021607"/>
                <a:gd name="connsiteY0" fmla="*/ 0 h 257442"/>
                <a:gd name="connsiteX1" fmla="*/ 1966886 w 2021607"/>
                <a:gd name="connsiteY1" fmla="*/ 257442 h 257442"/>
                <a:gd name="connsiteX2" fmla="*/ 0 w 2021607"/>
                <a:gd name="connsiteY2" fmla="*/ 257442 h 257442"/>
                <a:gd name="connsiteX3" fmla="*/ 0 w 2021607"/>
                <a:gd name="connsiteY3" fmla="*/ 0 h 257442"/>
                <a:gd name="connsiteX0" fmla="*/ 2021607 w 2021607"/>
                <a:gd name="connsiteY0" fmla="*/ 0 h 257442"/>
                <a:gd name="connsiteX1" fmla="*/ 1966886 w 2021607"/>
                <a:gd name="connsiteY1" fmla="*/ 257442 h 257442"/>
                <a:gd name="connsiteX2" fmla="*/ 0 w 2021607"/>
                <a:gd name="connsiteY2" fmla="*/ 257442 h 257442"/>
                <a:gd name="connsiteX3" fmla="*/ 0 w 2021607"/>
                <a:gd name="connsiteY3" fmla="*/ 0 h 257442"/>
                <a:gd name="connsiteX0" fmla="*/ 2181907 w 2181907"/>
                <a:gd name="connsiteY0" fmla="*/ 0 h 257442"/>
                <a:gd name="connsiteX1" fmla="*/ 1966886 w 2181907"/>
                <a:gd name="connsiteY1" fmla="*/ 257442 h 257442"/>
                <a:gd name="connsiteX2" fmla="*/ 0 w 2181907"/>
                <a:gd name="connsiteY2" fmla="*/ 257442 h 257442"/>
                <a:gd name="connsiteX3" fmla="*/ 0 w 2181907"/>
                <a:gd name="connsiteY3" fmla="*/ 0 h 257442"/>
                <a:gd name="connsiteX0" fmla="*/ 2181907 w 2181907"/>
                <a:gd name="connsiteY0" fmla="*/ 0 h 257442"/>
                <a:gd name="connsiteX1" fmla="*/ 2127186 w 2181907"/>
                <a:gd name="connsiteY1" fmla="*/ 257442 h 257442"/>
                <a:gd name="connsiteX2" fmla="*/ 0 w 2181907"/>
                <a:gd name="connsiteY2" fmla="*/ 257442 h 257442"/>
                <a:gd name="connsiteX3" fmla="*/ 0 w 2181907"/>
                <a:gd name="connsiteY3" fmla="*/ 0 h 257442"/>
                <a:gd name="connsiteX0" fmla="*/ 2181907 w 2181907"/>
                <a:gd name="connsiteY0" fmla="*/ 0 h 257442"/>
                <a:gd name="connsiteX1" fmla="*/ 2127186 w 2181907"/>
                <a:gd name="connsiteY1" fmla="*/ 257442 h 257442"/>
                <a:gd name="connsiteX2" fmla="*/ 0 w 2181907"/>
                <a:gd name="connsiteY2" fmla="*/ 257442 h 257442"/>
                <a:gd name="connsiteX3" fmla="*/ 0 w 2181907"/>
                <a:gd name="connsiteY3" fmla="*/ 0 h 257442"/>
                <a:gd name="connsiteX0" fmla="*/ 2181907 w 2181907"/>
                <a:gd name="connsiteY0" fmla="*/ 0 h 257442"/>
                <a:gd name="connsiteX1" fmla="*/ 2127186 w 2181907"/>
                <a:gd name="connsiteY1" fmla="*/ 257442 h 257442"/>
                <a:gd name="connsiteX2" fmla="*/ 0 w 2181907"/>
                <a:gd name="connsiteY2" fmla="*/ 257442 h 257442"/>
                <a:gd name="connsiteX3" fmla="*/ 0 w 2181907"/>
                <a:gd name="connsiteY3" fmla="*/ 0 h 257442"/>
                <a:gd name="connsiteX0" fmla="*/ 2350222 w 2350222"/>
                <a:gd name="connsiteY0" fmla="*/ 0 h 257442"/>
                <a:gd name="connsiteX1" fmla="*/ 2127186 w 2350222"/>
                <a:gd name="connsiteY1" fmla="*/ 257442 h 257442"/>
                <a:gd name="connsiteX2" fmla="*/ 0 w 2350222"/>
                <a:gd name="connsiteY2" fmla="*/ 257442 h 257442"/>
                <a:gd name="connsiteX3" fmla="*/ 0 w 2350222"/>
                <a:gd name="connsiteY3" fmla="*/ 0 h 257442"/>
                <a:gd name="connsiteX0" fmla="*/ 2350222 w 2350222"/>
                <a:gd name="connsiteY0" fmla="*/ 0 h 257442"/>
                <a:gd name="connsiteX1" fmla="*/ 2295500 w 2350222"/>
                <a:gd name="connsiteY1" fmla="*/ 257442 h 257442"/>
                <a:gd name="connsiteX2" fmla="*/ 0 w 2350222"/>
                <a:gd name="connsiteY2" fmla="*/ 257442 h 257442"/>
                <a:gd name="connsiteX3" fmla="*/ 0 w 2350222"/>
                <a:gd name="connsiteY3" fmla="*/ 0 h 257442"/>
                <a:gd name="connsiteX0" fmla="*/ 2350223 w 2350223"/>
                <a:gd name="connsiteY0" fmla="*/ 0 h 257442"/>
                <a:gd name="connsiteX1" fmla="*/ 2295501 w 2350223"/>
                <a:gd name="connsiteY1" fmla="*/ 257442 h 257442"/>
                <a:gd name="connsiteX2" fmla="*/ 0 w 2350223"/>
                <a:gd name="connsiteY2" fmla="*/ 257442 h 257442"/>
                <a:gd name="connsiteX3" fmla="*/ 1 w 2350223"/>
                <a:gd name="connsiteY3" fmla="*/ 0 h 257442"/>
                <a:gd name="connsiteX0" fmla="*/ 2350223 w 2350223"/>
                <a:gd name="connsiteY0" fmla="*/ 0 h 257442"/>
                <a:gd name="connsiteX1" fmla="*/ 2295501 w 2350223"/>
                <a:gd name="connsiteY1" fmla="*/ 257442 h 257442"/>
                <a:gd name="connsiteX2" fmla="*/ 0 w 2350223"/>
                <a:gd name="connsiteY2" fmla="*/ 257442 h 257442"/>
                <a:gd name="connsiteX3" fmla="*/ 1 w 2350223"/>
                <a:gd name="connsiteY3" fmla="*/ 0 h 257442"/>
                <a:gd name="connsiteX0" fmla="*/ 2637161 w 2637161"/>
                <a:gd name="connsiteY0" fmla="*/ 0 h 257442"/>
                <a:gd name="connsiteX1" fmla="*/ 2295501 w 2637161"/>
                <a:gd name="connsiteY1" fmla="*/ 257442 h 257442"/>
                <a:gd name="connsiteX2" fmla="*/ 0 w 2637161"/>
                <a:gd name="connsiteY2" fmla="*/ 257442 h 257442"/>
                <a:gd name="connsiteX3" fmla="*/ 1 w 2637161"/>
                <a:gd name="connsiteY3" fmla="*/ 0 h 257442"/>
                <a:gd name="connsiteX0" fmla="*/ 2637161 w 2637161"/>
                <a:gd name="connsiteY0" fmla="*/ 0 h 257442"/>
                <a:gd name="connsiteX1" fmla="*/ 2582440 w 2637161"/>
                <a:gd name="connsiteY1" fmla="*/ 257442 h 257442"/>
                <a:gd name="connsiteX2" fmla="*/ 0 w 2637161"/>
                <a:gd name="connsiteY2" fmla="*/ 257442 h 257442"/>
                <a:gd name="connsiteX3" fmla="*/ 1 w 2637161"/>
                <a:gd name="connsiteY3" fmla="*/ 0 h 257442"/>
                <a:gd name="connsiteX0" fmla="*/ 2637160 w 2637160"/>
                <a:gd name="connsiteY0" fmla="*/ 0 h 257442"/>
                <a:gd name="connsiteX1" fmla="*/ 2582439 w 2637160"/>
                <a:gd name="connsiteY1" fmla="*/ 257442 h 257442"/>
                <a:gd name="connsiteX2" fmla="*/ 0 w 2637160"/>
                <a:gd name="connsiteY2" fmla="*/ 257442 h 257442"/>
                <a:gd name="connsiteX3" fmla="*/ 0 w 2637160"/>
                <a:gd name="connsiteY3" fmla="*/ 0 h 257442"/>
                <a:gd name="connsiteX0" fmla="*/ 2637161 w 2637161"/>
                <a:gd name="connsiteY0" fmla="*/ 0 h 257442"/>
                <a:gd name="connsiteX1" fmla="*/ 2582440 w 2637161"/>
                <a:gd name="connsiteY1" fmla="*/ 257442 h 257442"/>
                <a:gd name="connsiteX2" fmla="*/ 1 w 2637161"/>
                <a:gd name="connsiteY2" fmla="*/ 257442 h 257442"/>
                <a:gd name="connsiteX3" fmla="*/ 0 w 2637161"/>
                <a:gd name="connsiteY3" fmla="*/ 0 h 257442"/>
                <a:gd name="connsiteX0" fmla="*/ 2805476 w 2805476"/>
                <a:gd name="connsiteY0" fmla="*/ 0 h 257442"/>
                <a:gd name="connsiteX1" fmla="*/ 2582440 w 2805476"/>
                <a:gd name="connsiteY1" fmla="*/ 257442 h 257442"/>
                <a:gd name="connsiteX2" fmla="*/ 1 w 2805476"/>
                <a:gd name="connsiteY2" fmla="*/ 257442 h 257442"/>
                <a:gd name="connsiteX3" fmla="*/ 0 w 2805476"/>
                <a:gd name="connsiteY3" fmla="*/ 0 h 257442"/>
                <a:gd name="connsiteX0" fmla="*/ 2805476 w 2805476"/>
                <a:gd name="connsiteY0" fmla="*/ 0 h 257442"/>
                <a:gd name="connsiteX1" fmla="*/ 2750754 w 2805476"/>
                <a:gd name="connsiteY1" fmla="*/ 257442 h 257442"/>
                <a:gd name="connsiteX2" fmla="*/ 1 w 2805476"/>
                <a:gd name="connsiteY2" fmla="*/ 257442 h 257442"/>
                <a:gd name="connsiteX3" fmla="*/ 0 w 2805476"/>
                <a:gd name="connsiteY3" fmla="*/ 0 h 257442"/>
                <a:gd name="connsiteX0" fmla="*/ 2805476 w 2805476"/>
                <a:gd name="connsiteY0" fmla="*/ 0 h 257442"/>
                <a:gd name="connsiteX1" fmla="*/ 2750754 w 2805476"/>
                <a:gd name="connsiteY1" fmla="*/ 257442 h 257442"/>
                <a:gd name="connsiteX2" fmla="*/ 0 w 2805476"/>
                <a:gd name="connsiteY2" fmla="*/ 257442 h 257442"/>
                <a:gd name="connsiteX3" fmla="*/ 0 w 2805476"/>
                <a:gd name="connsiteY3" fmla="*/ 0 h 257442"/>
                <a:gd name="connsiteX0" fmla="*/ 2805476 w 2805476"/>
                <a:gd name="connsiteY0" fmla="*/ 0 h 257442"/>
                <a:gd name="connsiteX1" fmla="*/ 2750754 w 2805476"/>
                <a:gd name="connsiteY1" fmla="*/ 257442 h 257442"/>
                <a:gd name="connsiteX2" fmla="*/ 0 w 2805476"/>
                <a:gd name="connsiteY2" fmla="*/ 257442 h 257442"/>
                <a:gd name="connsiteX3" fmla="*/ 0 w 2805476"/>
                <a:gd name="connsiteY3" fmla="*/ 0 h 257442"/>
                <a:gd name="connsiteX0" fmla="*/ 2973791 w 2973791"/>
                <a:gd name="connsiteY0" fmla="*/ 0 h 257442"/>
                <a:gd name="connsiteX1" fmla="*/ 2750754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3142106 w 3142106"/>
                <a:gd name="connsiteY0" fmla="*/ 0 h 257442"/>
                <a:gd name="connsiteX1" fmla="*/ 2919070 w 3142106"/>
                <a:gd name="connsiteY1" fmla="*/ 257442 h 257442"/>
                <a:gd name="connsiteX2" fmla="*/ 0 w 3142106"/>
                <a:gd name="connsiteY2" fmla="*/ 257442 h 257442"/>
                <a:gd name="connsiteX3" fmla="*/ 0 w 3142106"/>
                <a:gd name="connsiteY3" fmla="*/ 0 h 257442"/>
                <a:gd name="connsiteX0" fmla="*/ 3142106 w 3142106"/>
                <a:gd name="connsiteY0" fmla="*/ 0 h 257442"/>
                <a:gd name="connsiteX1" fmla="*/ 3087384 w 3142106"/>
                <a:gd name="connsiteY1" fmla="*/ 257442 h 257442"/>
                <a:gd name="connsiteX2" fmla="*/ 0 w 3142106"/>
                <a:gd name="connsiteY2" fmla="*/ 257442 h 257442"/>
                <a:gd name="connsiteX3" fmla="*/ 0 w 3142106"/>
                <a:gd name="connsiteY3" fmla="*/ 0 h 257442"/>
                <a:gd name="connsiteX0" fmla="*/ 3142107 w 3142107"/>
                <a:gd name="connsiteY0" fmla="*/ 0 h 257442"/>
                <a:gd name="connsiteX1" fmla="*/ 3087385 w 3142107"/>
                <a:gd name="connsiteY1" fmla="*/ 257442 h 257442"/>
                <a:gd name="connsiteX2" fmla="*/ 0 w 3142107"/>
                <a:gd name="connsiteY2" fmla="*/ 257442 h 257442"/>
                <a:gd name="connsiteX3" fmla="*/ 1 w 3142107"/>
                <a:gd name="connsiteY3" fmla="*/ 0 h 257442"/>
                <a:gd name="connsiteX0" fmla="*/ 3142107 w 3142107"/>
                <a:gd name="connsiteY0" fmla="*/ 0 h 257442"/>
                <a:gd name="connsiteX1" fmla="*/ 3087385 w 3142107"/>
                <a:gd name="connsiteY1" fmla="*/ 257442 h 257442"/>
                <a:gd name="connsiteX2" fmla="*/ 0 w 3142107"/>
                <a:gd name="connsiteY2" fmla="*/ 257442 h 257442"/>
                <a:gd name="connsiteX3" fmla="*/ 1 w 3142107"/>
                <a:gd name="connsiteY3" fmla="*/ 0 h 257442"/>
                <a:gd name="connsiteX0" fmla="*/ 3302407 w 3302407"/>
                <a:gd name="connsiteY0" fmla="*/ 0 h 257442"/>
                <a:gd name="connsiteX1" fmla="*/ 3087385 w 3302407"/>
                <a:gd name="connsiteY1" fmla="*/ 257442 h 257442"/>
                <a:gd name="connsiteX2" fmla="*/ 0 w 3302407"/>
                <a:gd name="connsiteY2" fmla="*/ 257442 h 257442"/>
                <a:gd name="connsiteX3" fmla="*/ 1 w 3302407"/>
                <a:gd name="connsiteY3" fmla="*/ 0 h 257442"/>
                <a:gd name="connsiteX0" fmla="*/ 3302407 w 3302407"/>
                <a:gd name="connsiteY0" fmla="*/ 0 h 257442"/>
                <a:gd name="connsiteX1" fmla="*/ 3247686 w 3302407"/>
                <a:gd name="connsiteY1" fmla="*/ 257442 h 257442"/>
                <a:gd name="connsiteX2" fmla="*/ 0 w 3302407"/>
                <a:gd name="connsiteY2" fmla="*/ 257442 h 257442"/>
                <a:gd name="connsiteX3" fmla="*/ 1 w 3302407"/>
                <a:gd name="connsiteY3" fmla="*/ 0 h 257442"/>
                <a:gd name="connsiteX0" fmla="*/ 3302406 w 3302406"/>
                <a:gd name="connsiteY0" fmla="*/ 0 h 257442"/>
                <a:gd name="connsiteX1" fmla="*/ 3247685 w 3302406"/>
                <a:gd name="connsiteY1" fmla="*/ 257442 h 257442"/>
                <a:gd name="connsiteX2" fmla="*/ 0 w 3302406"/>
                <a:gd name="connsiteY2" fmla="*/ 257442 h 257442"/>
                <a:gd name="connsiteX3" fmla="*/ 0 w 3302406"/>
                <a:gd name="connsiteY3" fmla="*/ 0 h 257442"/>
                <a:gd name="connsiteX0" fmla="*/ 3302407 w 3302407"/>
                <a:gd name="connsiteY0" fmla="*/ 0 h 257442"/>
                <a:gd name="connsiteX1" fmla="*/ 3247686 w 3302407"/>
                <a:gd name="connsiteY1" fmla="*/ 257442 h 257442"/>
                <a:gd name="connsiteX2" fmla="*/ 1 w 3302407"/>
                <a:gd name="connsiteY2" fmla="*/ 257442 h 257442"/>
                <a:gd name="connsiteX3" fmla="*/ 0 w 3302407"/>
                <a:gd name="connsiteY3" fmla="*/ 0 h 257442"/>
                <a:gd name="connsiteX0" fmla="*/ 3555681 w 3555681"/>
                <a:gd name="connsiteY0" fmla="*/ 0 h 257442"/>
                <a:gd name="connsiteX1" fmla="*/ 3247686 w 3555681"/>
                <a:gd name="connsiteY1" fmla="*/ 257442 h 257442"/>
                <a:gd name="connsiteX2" fmla="*/ 1 w 3555681"/>
                <a:gd name="connsiteY2" fmla="*/ 257442 h 257442"/>
                <a:gd name="connsiteX3" fmla="*/ 0 w 3555681"/>
                <a:gd name="connsiteY3" fmla="*/ 0 h 257442"/>
                <a:gd name="connsiteX0" fmla="*/ 3555681 w 3555681"/>
                <a:gd name="connsiteY0" fmla="*/ 0 h 257442"/>
                <a:gd name="connsiteX1" fmla="*/ 3500960 w 3555681"/>
                <a:gd name="connsiteY1" fmla="*/ 257442 h 257442"/>
                <a:gd name="connsiteX2" fmla="*/ 1 w 3555681"/>
                <a:gd name="connsiteY2" fmla="*/ 257442 h 257442"/>
                <a:gd name="connsiteX3" fmla="*/ 0 w 3555681"/>
                <a:gd name="connsiteY3" fmla="*/ 0 h 257442"/>
                <a:gd name="connsiteX0" fmla="*/ 3555681 w 3555681"/>
                <a:gd name="connsiteY0" fmla="*/ 0 h 257442"/>
                <a:gd name="connsiteX1" fmla="*/ 3500960 w 3555681"/>
                <a:gd name="connsiteY1" fmla="*/ 257442 h 257442"/>
                <a:gd name="connsiteX2" fmla="*/ 1 w 3555681"/>
                <a:gd name="connsiteY2" fmla="*/ 257442 h 257442"/>
                <a:gd name="connsiteX3" fmla="*/ 0 w 3555681"/>
                <a:gd name="connsiteY3" fmla="*/ 0 h 257442"/>
                <a:gd name="connsiteX0" fmla="*/ 3555680 w 3555680"/>
                <a:gd name="connsiteY0" fmla="*/ 0 h 257442"/>
                <a:gd name="connsiteX1" fmla="*/ 3500959 w 3555680"/>
                <a:gd name="connsiteY1" fmla="*/ 257442 h 257442"/>
                <a:gd name="connsiteX2" fmla="*/ 0 w 3555680"/>
                <a:gd name="connsiteY2" fmla="*/ 257442 h 257442"/>
                <a:gd name="connsiteX3" fmla="*/ 0 w 3555680"/>
                <a:gd name="connsiteY3" fmla="*/ 0 h 257442"/>
                <a:gd name="connsiteX0" fmla="*/ 3723995 w 3723995"/>
                <a:gd name="connsiteY0" fmla="*/ 0 h 257442"/>
                <a:gd name="connsiteX1" fmla="*/ 3500959 w 3723995"/>
                <a:gd name="connsiteY1" fmla="*/ 257442 h 257442"/>
                <a:gd name="connsiteX2" fmla="*/ 0 w 3723995"/>
                <a:gd name="connsiteY2" fmla="*/ 257442 h 257442"/>
                <a:gd name="connsiteX3" fmla="*/ 0 w 3723995"/>
                <a:gd name="connsiteY3" fmla="*/ 0 h 257442"/>
                <a:gd name="connsiteX0" fmla="*/ 3723995 w 3723995"/>
                <a:gd name="connsiteY0" fmla="*/ 0 h 257442"/>
                <a:gd name="connsiteX1" fmla="*/ 3669274 w 3723995"/>
                <a:gd name="connsiteY1" fmla="*/ 257442 h 257442"/>
                <a:gd name="connsiteX2" fmla="*/ 0 w 3723995"/>
                <a:gd name="connsiteY2" fmla="*/ 257442 h 257442"/>
                <a:gd name="connsiteX3" fmla="*/ 0 w 3723995"/>
                <a:gd name="connsiteY3" fmla="*/ 0 h 257442"/>
                <a:gd name="connsiteX0" fmla="*/ 3723996 w 3723996"/>
                <a:gd name="connsiteY0" fmla="*/ 0 h 257442"/>
                <a:gd name="connsiteX1" fmla="*/ 3669275 w 3723996"/>
                <a:gd name="connsiteY1" fmla="*/ 257442 h 257442"/>
                <a:gd name="connsiteX2" fmla="*/ 0 w 3723996"/>
                <a:gd name="connsiteY2" fmla="*/ 257442 h 257442"/>
                <a:gd name="connsiteX3" fmla="*/ 1 w 3723996"/>
                <a:gd name="connsiteY3" fmla="*/ 0 h 257442"/>
                <a:gd name="connsiteX0" fmla="*/ 3723996 w 3723996"/>
                <a:gd name="connsiteY0" fmla="*/ 0 h 257442"/>
                <a:gd name="connsiteX1" fmla="*/ 3669275 w 3723996"/>
                <a:gd name="connsiteY1" fmla="*/ 257442 h 257442"/>
                <a:gd name="connsiteX2" fmla="*/ 0 w 3723996"/>
                <a:gd name="connsiteY2" fmla="*/ 257442 h 257442"/>
                <a:gd name="connsiteX3" fmla="*/ 0 w 3723996"/>
                <a:gd name="connsiteY3" fmla="*/ 0 h 257442"/>
                <a:gd name="connsiteX0" fmla="*/ 3901929 w 3901929"/>
                <a:gd name="connsiteY0" fmla="*/ 0 h 257442"/>
                <a:gd name="connsiteX1" fmla="*/ 3669275 w 3901929"/>
                <a:gd name="connsiteY1" fmla="*/ 257442 h 257442"/>
                <a:gd name="connsiteX2" fmla="*/ 0 w 3901929"/>
                <a:gd name="connsiteY2" fmla="*/ 257442 h 257442"/>
                <a:gd name="connsiteX3" fmla="*/ 0 w 3901929"/>
                <a:gd name="connsiteY3" fmla="*/ 0 h 257442"/>
                <a:gd name="connsiteX0" fmla="*/ 3901929 w 3901929"/>
                <a:gd name="connsiteY0" fmla="*/ 0 h 257442"/>
                <a:gd name="connsiteX1" fmla="*/ 3847208 w 3901929"/>
                <a:gd name="connsiteY1" fmla="*/ 257442 h 257442"/>
                <a:gd name="connsiteX2" fmla="*/ 0 w 3901929"/>
                <a:gd name="connsiteY2" fmla="*/ 257442 h 257442"/>
                <a:gd name="connsiteX3" fmla="*/ 0 w 3901929"/>
                <a:gd name="connsiteY3" fmla="*/ 0 h 257442"/>
                <a:gd name="connsiteX0" fmla="*/ 3901929 w 3901929"/>
                <a:gd name="connsiteY0" fmla="*/ 0 h 257442"/>
                <a:gd name="connsiteX1" fmla="*/ 3847208 w 3901929"/>
                <a:gd name="connsiteY1" fmla="*/ 257442 h 257442"/>
                <a:gd name="connsiteX2" fmla="*/ 0 w 3901929"/>
                <a:gd name="connsiteY2" fmla="*/ 257442 h 257442"/>
                <a:gd name="connsiteX3" fmla="*/ 0 w 3901929"/>
                <a:gd name="connsiteY3" fmla="*/ 0 h 257442"/>
                <a:gd name="connsiteX0" fmla="*/ 3901929 w 3901929"/>
                <a:gd name="connsiteY0" fmla="*/ 0 h 257442"/>
                <a:gd name="connsiteX1" fmla="*/ 3847208 w 3901929"/>
                <a:gd name="connsiteY1" fmla="*/ 257442 h 257442"/>
                <a:gd name="connsiteX2" fmla="*/ 0 w 3901929"/>
                <a:gd name="connsiteY2" fmla="*/ 257442 h 257442"/>
                <a:gd name="connsiteX3" fmla="*/ 0 w 390192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01929" h="257442">
                  <a:moveTo>
                    <a:pt x="3901929" y="0"/>
                  </a:moveTo>
                  <a:lnTo>
                    <a:pt x="3847208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8" name="btfpRunningAgenda1LevelTextLeft188110">
              <a:extLst>
                <a:ext uri="{FF2B5EF4-FFF2-40B4-BE49-F238E27FC236}">
                  <a16:creationId xmlns:a16="http://schemas.microsoft.com/office/drawing/2014/main" id="{2B0B6153-CBB3-D8C3-BC0A-8C9B858BB4B8}"/>
                </a:ext>
              </a:extLst>
            </p:cNvPr>
            <p:cNvSpPr txBox="1"/>
            <p:nvPr/>
          </p:nvSpPr>
          <p:spPr bwMode="gray">
            <a:xfrm>
              <a:off x="0" y="876300"/>
              <a:ext cx="384720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Influencer marketing</a:t>
              </a:r>
            </a:p>
          </p:txBody>
        </p:sp>
      </p:grpSp>
      <p:grpSp>
        <p:nvGrpSpPr>
          <p:cNvPr id="33" name="btfpStatusSticker675992">
            <a:extLst>
              <a:ext uri="{FF2B5EF4-FFF2-40B4-BE49-F238E27FC236}">
                <a16:creationId xmlns:a16="http://schemas.microsoft.com/office/drawing/2014/main" id="{564E7F9A-378B-5FEA-A07F-CA4462C45B0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349718" y="955344"/>
            <a:ext cx="1512082" cy="235611"/>
            <a:chOff x="-2090125" y="876300"/>
            <a:chExt cx="1512082" cy="235611"/>
          </a:xfrm>
        </p:grpSpPr>
        <p:sp>
          <p:nvSpPr>
            <p:cNvPr id="31" name="btfpStatusStickerText675992">
              <a:extLst>
                <a:ext uri="{FF2B5EF4-FFF2-40B4-BE49-F238E27FC236}">
                  <a16:creationId xmlns:a16="http://schemas.microsoft.com/office/drawing/2014/main" id="{E03C1526-E7BB-D6AE-EBFA-5B274A467FC3}"/>
                </a:ext>
              </a:extLst>
            </p:cNvPr>
            <p:cNvSpPr txBox="1"/>
            <p:nvPr/>
          </p:nvSpPr>
          <p:spPr bwMode="gray">
            <a:xfrm>
              <a:off x="-2090125" y="876300"/>
              <a:ext cx="1512082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Instagram</a:t>
              </a:r>
            </a:p>
          </p:txBody>
        </p:sp>
        <p:cxnSp>
          <p:nvCxnSpPr>
            <p:cNvPr id="32" name="btfpStatusStickerLine675992">
              <a:extLst>
                <a:ext uri="{FF2B5EF4-FFF2-40B4-BE49-F238E27FC236}">
                  <a16:creationId xmlns:a16="http://schemas.microsoft.com/office/drawing/2014/main" id="{DFE902E7-A5BE-A742-05C1-AF5A0D7E2FED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09012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" name="btfpNotesBox364169">
            <a:extLst>
              <a:ext uri="{FF2B5EF4-FFF2-40B4-BE49-F238E27FC236}">
                <a16:creationId xmlns:a16="http://schemas.microsoft.com/office/drawing/2014/main" id="{C757010B-5738-4EED-A10B-B57175663E4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200" y="6314917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</a:t>
            </a:r>
            <a:r>
              <a:rPr lang="en-US" sz="800" dirty="0"/>
              <a:t>^P</a:t>
            </a:r>
            <a:r>
              <a:rPr lang="en-US" sz="800" dirty="0">
                <a:effectLst/>
                <a:ea typeface="Calibri" panose="020F0502020204030204" pitchFamily="34" charset="0"/>
              </a:rPr>
              <a:t>osts marked using Instagram’s Paid Partnership Feature or having #sponsored/ #ad hashtags in caption 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Source: HypeAuditor, last 12 months data (Jan’23-Dec’23)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3DA14C0-D14D-C635-50CF-A83421A36F31}"/>
              </a:ext>
            </a:extLst>
          </p:cNvPr>
          <p:cNvGraphicFramePr>
            <a:graphicFrameLocks noGrp="1"/>
          </p:cNvGraphicFramePr>
          <p:nvPr/>
        </p:nvGraphicFramePr>
        <p:xfrm>
          <a:off x="334962" y="1752253"/>
          <a:ext cx="11522083" cy="4418461"/>
        </p:xfrm>
        <a:graphic>
          <a:graphicData uri="http://schemas.openxmlformats.org/drawingml/2006/table">
            <a:tbl>
              <a:tblPr/>
              <a:tblGrid>
                <a:gridCol w="1493838">
                  <a:extLst>
                    <a:ext uri="{9D8B030D-6E8A-4147-A177-3AD203B41FA5}">
                      <a16:colId xmlns:a16="http://schemas.microsoft.com/office/drawing/2014/main" val="267976942"/>
                    </a:ext>
                  </a:extLst>
                </a:gridCol>
                <a:gridCol w="2328421">
                  <a:extLst>
                    <a:ext uri="{9D8B030D-6E8A-4147-A177-3AD203B41FA5}">
                      <a16:colId xmlns:a16="http://schemas.microsoft.com/office/drawing/2014/main" val="1172864086"/>
                    </a:ext>
                  </a:extLst>
                </a:gridCol>
                <a:gridCol w="855536">
                  <a:extLst>
                    <a:ext uri="{9D8B030D-6E8A-4147-A177-3AD203B41FA5}">
                      <a16:colId xmlns:a16="http://schemas.microsoft.com/office/drawing/2014/main" val="3161414440"/>
                    </a:ext>
                  </a:extLst>
                </a:gridCol>
                <a:gridCol w="855536">
                  <a:extLst>
                    <a:ext uri="{9D8B030D-6E8A-4147-A177-3AD203B41FA5}">
                      <a16:colId xmlns:a16="http://schemas.microsoft.com/office/drawing/2014/main" val="853681405"/>
                    </a:ext>
                  </a:extLst>
                </a:gridCol>
                <a:gridCol w="855536">
                  <a:extLst>
                    <a:ext uri="{9D8B030D-6E8A-4147-A177-3AD203B41FA5}">
                      <a16:colId xmlns:a16="http://schemas.microsoft.com/office/drawing/2014/main" val="1138325786"/>
                    </a:ext>
                  </a:extLst>
                </a:gridCol>
                <a:gridCol w="855536">
                  <a:extLst>
                    <a:ext uri="{9D8B030D-6E8A-4147-A177-3AD203B41FA5}">
                      <a16:colId xmlns:a16="http://schemas.microsoft.com/office/drawing/2014/main" val="1469575812"/>
                    </a:ext>
                  </a:extLst>
                </a:gridCol>
                <a:gridCol w="855536">
                  <a:extLst>
                    <a:ext uri="{9D8B030D-6E8A-4147-A177-3AD203B41FA5}">
                      <a16:colId xmlns:a16="http://schemas.microsoft.com/office/drawing/2014/main" val="357452499"/>
                    </a:ext>
                  </a:extLst>
                </a:gridCol>
                <a:gridCol w="855536">
                  <a:extLst>
                    <a:ext uri="{9D8B030D-6E8A-4147-A177-3AD203B41FA5}">
                      <a16:colId xmlns:a16="http://schemas.microsoft.com/office/drawing/2014/main" val="1533481315"/>
                    </a:ext>
                  </a:extLst>
                </a:gridCol>
                <a:gridCol w="855536">
                  <a:extLst>
                    <a:ext uri="{9D8B030D-6E8A-4147-A177-3AD203B41FA5}">
                      <a16:colId xmlns:a16="http://schemas.microsoft.com/office/drawing/2014/main" val="19635633"/>
                    </a:ext>
                  </a:extLst>
                </a:gridCol>
                <a:gridCol w="855536">
                  <a:extLst>
                    <a:ext uri="{9D8B030D-6E8A-4147-A177-3AD203B41FA5}">
                      <a16:colId xmlns:a16="http://schemas.microsoft.com/office/drawing/2014/main" val="2040188879"/>
                    </a:ext>
                  </a:extLst>
                </a:gridCol>
                <a:gridCol w="855536">
                  <a:extLst>
                    <a:ext uri="{9D8B030D-6E8A-4147-A177-3AD203B41FA5}">
                      <a16:colId xmlns:a16="http://schemas.microsoft.com/office/drawing/2014/main" val="2083566362"/>
                    </a:ext>
                  </a:extLst>
                </a:gridCol>
              </a:tblGrid>
              <a:tr h="485829"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fluencers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sers with more than 1,000 followers, who mentioned the brand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3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5D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0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6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D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AD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D0B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C5B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079464"/>
                  </a:ext>
                </a:extLst>
              </a:tr>
              <a:tr h="485829"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ponsored influencers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fluencers whose posts had any of the “sponsored content” characteristics^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 (21%)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AC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7 (24%)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6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(29%)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8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(32%)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(64%)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5D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(22%)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8F8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(29%)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A4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(46%)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(38%)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4238130"/>
                  </a:ext>
                </a:extLst>
              </a:tr>
              <a:tr h="485829"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ga and Macro tier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ga: 1M+ followers, Macro: 500K to 1M followers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5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DAC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2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5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888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9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8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CBDA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0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6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858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7451987"/>
                  </a:ext>
                </a:extLst>
              </a:tr>
              <a:tr h="485829"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termediate tier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fluencers with 50K to 500K followers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6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9D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4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4B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2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C3B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3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4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4B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0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6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4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AC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8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CCB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0093262"/>
                  </a:ext>
                </a:extLst>
              </a:tr>
              <a:tr h="485829"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icro and Nano tier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icro: 10K to 50K followers, Nano: 1K to 10K followers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9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8D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4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.4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888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.6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D6C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.8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6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.9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797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.0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5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5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A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0406631"/>
                  </a:ext>
                </a:extLst>
              </a:tr>
              <a:tr h="485829"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Audience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umulative follower-base of influencer accounts (M)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3C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1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6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D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A39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AD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C8B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AD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6913269"/>
                  </a:ext>
                </a:extLst>
              </a:tr>
              <a:tr h="485829"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. reach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I-based estimation of the number of “active” audience likely to view the posts (M)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6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6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6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D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9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AFA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4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4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B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9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B1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6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88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7774730"/>
                  </a:ext>
                </a:extLst>
              </a:tr>
              <a:tr h="485829"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Mentions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umulative number of times brand name was mentioned in posts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3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D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00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6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EC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4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CEB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BD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AFA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5896973"/>
                  </a:ext>
                </a:extLst>
              </a:tr>
              <a:tr h="485829">
                <a:tc>
                  <a:txBody>
                    <a:bodyPr/>
                    <a:lstStyle/>
                    <a:p>
                      <a:pPr marL="0" indent="0" algn="l" rtl="0" fontAlgn="ctr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vg. Engagement Rate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buNone/>
                      </a:pPr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rcent of audience who like or comment (engage) with the posts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6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D3C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7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DD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4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2C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01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CCB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79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6BAA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22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666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1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ED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77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9F9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72%</a:t>
                      </a:r>
                    </a:p>
                  </a:txBody>
                  <a:tcPr marL="5909" marR="5909" marT="590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9A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9030838"/>
                  </a:ext>
                </a:extLst>
              </a:tr>
            </a:tbl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D9DC971A-5773-6615-0534-1B42270B0AF3}"/>
              </a:ext>
            </a:extLst>
          </p:cNvPr>
          <p:cNvSpPr/>
          <p:nvPr/>
        </p:nvSpPr>
        <p:spPr bwMode="gray">
          <a:xfrm>
            <a:off x="4155141" y="1257300"/>
            <a:ext cx="849075" cy="4913414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F0C3248-BDB9-D903-F6C4-B4C00A23A75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44428"/>
            <a:ext cx="258172" cy="257443"/>
          </a:xfrm>
          <a:prstGeom prst="rect">
            <a:avLst/>
          </a:prstGeom>
        </p:spPr>
      </p:pic>
      <p:sp>
        <p:nvSpPr>
          <p:cNvPr id="18" name="btfpCallout943730">
            <a:extLst>
              <a:ext uri="{FF2B5EF4-FFF2-40B4-BE49-F238E27FC236}">
                <a16:creationId xmlns:a16="http://schemas.microsoft.com/office/drawing/2014/main" id="{21B17648-04D4-CF65-0948-B2667F8E633A}"/>
              </a:ext>
            </a:extLst>
          </p:cNvPr>
          <p:cNvSpPr/>
          <p:nvPr/>
        </p:nvSpPr>
        <p:spPr bwMode="gray">
          <a:xfrm>
            <a:off x="5273131" y="955344"/>
            <a:ext cx="1219827" cy="362190"/>
          </a:xfrm>
          <a:prstGeom prst="wedgeRectCallout">
            <a:avLst>
              <a:gd name="adj1" fmla="val -33776"/>
              <a:gd name="adj2" fmla="val 90176"/>
            </a:avLst>
          </a:prstGeom>
          <a:solidFill>
            <a:srgbClr val="FAEEC3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i="1" dirty="0">
                <a:solidFill>
                  <a:schemeClr val="tx1"/>
                </a:solidFill>
              </a:rPr>
              <a:t>Peer 3 - Diversified brand beyond just swimwear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47F6A55-BB50-36EA-D808-ED2CBB9E7F18}"/>
              </a:ext>
            </a:extLst>
          </p:cNvPr>
          <p:cNvSpPr/>
          <p:nvPr/>
        </p:nvSpPr>
        <p:spPr bwMode="gray">
          <a:xfrm>
            <a:off x="4226909" y="1510232"/>
            <a:ext cx="707718" cy="20030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rgbClr val="C00000"/>
                </a:solidFill>
              </a:rPr>
              <a:t>Target</a:t>
            </a:r>
            <a:endParaRPr lang="en-US" sz="1400" b="1" dirty="0">
              <a:solidFill>
                <a:srgbClr val="C00000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853551F-9483-1353-77C5-442434D37AA1}"/>
              </a:ext>
            </a:extLst>
          </p:cNvPr>
          <p:cNvSpPr/>
          <p:nvPr/>
        </p:nvSpPr>
        <p:spPr bwMode="gray">
          <a:xfrm>
            <a:off x="5112127" y="1508481"/>
            <a:ext cx="707718" cy="20030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chemeClr val="tx1"/>
                </a:solidFill>
              </a:rPr>
              <a:t>Peer 3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51E0BE-B76E-794D-C4A0-B53231ADB3C5}"/>
              </a:ext>
            </a:extLst>
          </p:cNvPr>
          <p:cNvSpPr/>
          <p:nvPr/>
        </p:nvSpPr>
        <p:spPr bwMode="gray">
          <a:xfrm>
            <a:off x="5980046" y="1508481"/>
            <a:ext cx="707718" cy="20030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chemeClr val="tx1"/>
                </a:solidFill>
              </a:rPr>
              <a:t>Peer 7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FEC84FC-8FFF-E8F8-D062-FBC2264F759D}"/>
              </a:ext>
            </a:extLst>
          </p:cNvPr>
          <p:cNvSpPr/>
          <p:nvPr/>
        </p:nvSpPr>
        <p:spPr bwMode="gray">
          <a:xfrm>
            <a:off x="6807762" y="1512809"/>
            <a:ext cx="707718" cy="20030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chemeClr val="tx1"/>
                </a:solidFill>
              </a:rPr>
              <a:t>Peer 5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42E76FD-0978-B44E-76CA-CD5D7E08DC17}"/>
              </a:ext>
            </a:extLst>
          </p:cNvPr>
          <p:cNvSpPr/>
          <p:nvPr/>
        </p:nvSpPr>
        <p:spPr bwMode="gray">
          <a:xfrm>
            <a:off x="7644123" y="1501439"/>
            <a:ext cx="707718" cy="20030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chemeClr val="tx1"/>
                </a:solidFill>
              </a:rPr>
              <a:t>Peer 8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9BF5B3E-C861-E133-26A9-E2BAD98BD15D}"/>
              </a:ext>
            </a:extLst>
          </p:cNvPr>
          <p:cNvSpPr/>
          <p:nvPr/>
        </p:nvSpPr>
        <p:spPr bwMode="gray">
          <a:xfrm>
            <a:off x="8522135" y="1508481"/>
            <a:ext cx="707718" cy="20030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chemeClr val="tx1"/>
                </a:solidFill>
              </a:rPr>
              <a:t>Peer 1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BFC8CDE-F137-7A25-04A2-C0ED5739ED06}"/>
              </a:ext>
            </a:extLst>
          </p:cNvPr>
          <p:cNvSpPr/>
          <p:nvPr/>
        </p:nvSpPr>
        <p:spPr bwMode="gray">
          <a:xfrm>
            <a:off x="11025225" y="1482070"/>
            <a:ext cx="707718" cy="20030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chemeClr val="tx1"/>
                </a:solidFill>
              </a:rPr>
              <a:t>Peer 6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821D8C3-88DE-9267-8396-03C5D287F774}"/>
              </a:ext>
            </a:extLst>
          </p:cNvPr>
          <p:cNvSpPr/>
          <p:nvPr/>
        </p:nvSpPr>
        <p:spPr bwMode="gray">
          <a:xfrm>
            <a:off x="10188007" y="1501439"/>
            <a:ext cx="707718" cy="20030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chemeClr val="tx1"/>
                </a:solidFill>
              </a:rPr>
              <a:t>Peer 2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7C0CB3B-DFED-EFA5-3B6D-F3E9BDE646BF}"/>
              </a:ext>
            </a:extLst>
          </p:cNvPr>
          <p:cNvSpPr/>
          <p:nvPr/>
        </p:nvSpPr>
        <p:spPr bwMode="gray">
          <a:xfrm>
            <a:off x="9320335" y="1501439"/>
            <a:ext cx="707718" cy="20030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chemeClr val="tx1"/>
                </a:solidFill>
              </a:rPr>
              <a:t>Peer 4</a:t>
            </a:r>
            <a:endParaRPr lang="en-US" sz="1400" b="1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321712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143E068-3177-4991-2B95-835514EE03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2849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606" imgH="608" progId="TCLayout.ActiveDocument.1">
                  <p:embed/>
                </p:oleObj>
              </mc:Choice>
              <mc:Fallback>
                <p:oleObj name="think-cell Slide" r:id="rId17" imgW="606" imgH="6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43E068-3177-4991-2B95-835514EE03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40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jqLMMMTprJfiFfMfF2PNjqv17fihSZHpStDl/JOAZ2wI38pPu1UA/lNs5A7hPV4jh4Ks9EDSos8em7nPrAzkRqlrHalOq0JSP2eSTIURa7LkwmscfGnojZbWptcp1mRPlCLflta9CJtRcgk4WCnsFOpw3iSn0iqWWVnRJoASL5I0z7Al/YdCj1NDPz9H70dFT7dN722Fmicmg6oTNCCEPyaamRozw1IsD5cKAf3YgDI2+bzHOsZ8TMuomlyIjp8X9aQziRaP6pycIhjIRR7q2eQ5hCOX2NZ79r+UJfZQMQXEqga2ge8mWjh1/9HyVVLnybiOM6CjmoNP+5zRTDj5UiVwZs5R//SgZUKP9wYrtRbIFs4/jQOtirPKZqky2vp67FqIIwaT0YmejBzOxd0gf9hwNDuaphHotwWFcx1gYwaA0unwitOc/MWIEEzwPmb8HoUAt2J6/TEcxZRV3Z1M976uh4Itu+53xGkPk1+5+9Wo40Ey/FLyfNbu1UkpSnEzDJpkr8837cbRh5xxFCpZECSJmY53w4TmvYkosCSVBIN6E+hKNdIzvR2qZbPETrWsbFiXIrHEMVwObJtfGAPb7sPT+Jv1awgbxh5dDjve+E/JYQR8hPCqwy/MVCpah5DSauin1N9lhYqK2gQdCq3V/eJ8OqJMiR7E3w27sxAoH7CZFA+WyiyQDOSjtfCw0NbCVPjxZeXzreN3W+SSHsegVqBraQ6JF/HpT1KfHPfGlIsv0SNyi9lJCDuaGQ2Zq9d4LWIrazEThFLjtyDvJar4DKc4Pmj4JnnhzwHyU2rrucNtsmi2AokoNAZTc0MnNcY9nDlrYPxZx4Je3KwsDpEObDgwzoHIjeyrprwS5gxL/xd6ETat0e61IT8Zre4hD7jZ0AxlId1H17Kv1DA/37BvcXjRBuDZKHnXGtOeJDmOgyb3U+KWZC5MmHMKLK+fA148jslmOOlneNx0cNlGDgZVHni8eqzcwW+RsqPlw5fMWZryZ3YdIc8faxqB1tVTstxGUepO5GKp9mrYQynmB4NhqLKdl5PNA4pmbsU1fSPg/+MYO+XmQe5rmDFLfyMJjOfYQcGAL6uFvT1PQAhe73B5lM8Zgr/ZbhxLW+spy3a4wQvI89E8iQ7bn5RU1kF7i8xWrWPYPWGd4vNLT4mRPV8TbSPecTSMAnjhw54TCf5q+fWLLJ7IJrSnSJ/vuqC2y3dOzPuvqAFwHHOosjKYOjb9BfSoERrhGPeejt0x80AJnIQfJOKRr3GHzK8TWF3cfuO1THuYsAcmsSjm8xrCrcS3mj+Yq24SL/1m2LYutwOz8trokchf4YHt8OkUjVm8J8/FLBhmyRkayGlbUZ2jcJXgc1dD9EEbQGqElXznn4nxBpYU9BJ1drBMZU9vb/zIPMuL89xeTxGmeHiO7Dnb9yitTJXHyycr0xS0vBYJ5UtxH2ZQE1b5djG59bww+hHDBfXGdM9J7ty/J21zWY27rrNBy6PF0j16uoxR/R24q2JB7AoqeBpq3TVu8dRVIM/QRdYCfEXrDhgFgl9Ie29jt8zeCeQPjbz9pLZcnjSuLOqqwagpzTqPT3hCPHLf+PjB0aG19GyL5n4MgX680j2J/85oh+5ZcUieJscR4OzRYPVlGPvFGYJ1bmNI+FOZRqrpfl3m6UYw0AllSbnq3tnzo7gmq5ywQ0NFwOdXOrvhMcxemOMau6AZ6xOHPyp6eEWZFzroCz2k4mdGNwGlEPJdCcF7Emtw0Ec1vAPrWD2LIH+w4GqVJ4H3k0hiK7auD5ZSTRZ8n1dUtrf6Cp2aQBmz8BaR/sJnrBpYwHcA3/8N4+8ArtDsCZDiz0/9zKoPX/snkK48tSp2l9FLls3LX71tiwvtrY8SV2P5phuDdL3KrtN0eoXdwz62zUOgsp/1DWgAUuYytfSsv6ZgFMJXmbhsFVDHwQNU73KqrKmdzbok9ULn1Mnk9bSX7Zy+mmsFB2w73FKvxjJxiznECgQCS3nkL0R3DuzaCSIyd7B2IRfFjAnGTrd416sN4rTIR0mRc+O3QB55mYeM1Wjy/cwGGJ6G9CCfQSm2PwktrcC4fKKcp7RSaRNAo+gsLT/h2M7pNF9+FXEEcL4MXc/leZ/IgZp1+cS4fXiBp2gG6/ff8m5/H5xsu+I7thjQTkobONTqMuKP3UTEfnZQJ0bQQfIOvDYMD3jqoTJp4fGAoz2PIXyqH96BCwCiqoSMV05HiNpG3MWcBWUTlf9Obs/qqAaUD+AHMua7sDXaRjbYkmVog/EtpomZnzceXOKiCQ5m7xi4jYOQUYux7UeXA02BqirkgP6YK3CqgcHYfPiwgD6sdj5dZucWc0m+/gKEcqZB8uPGBrnrvLi6JadWEntrvsOzKXnbDllHjb46DOqRQiu180kqKc7rxCwPw5WpCPOnzULjnCJSYIHa413s8lhgiF0xeGrtYZ/6WEhslc8Cnk3nQGGb2Kp8YERHkUd5dS8vEZReh9F+MqOkHo6saDgzGGW2wcy+dJO7kGO6Whb/TU8V8ggBJptvnqYekq/NQUxKU4Cox2pDl9evweuPR3nqpNc+/yUFCVoPGCifwr+u5wZALADS/Bt0dt9qlo3ow2rxMrcJbG5os4LVNaUC5PbpVASaNQS6AR+HoGAA/TIxaPMzUgeAEbdFwal7XnW4W8a51oicfaEhEoSRXXk9//v7vRhiD91tQEnAqEobpCKWXW90dhsDciYgsRt7/3E4szsBhbKl2/4lBW5tFRxVXpl84YAJ2JIatLIIkbyENbG92b6windWbtL/DHBnTWNWk8rCmCZm5C9ETz12hb72PoNIdzh8bjhf8sSifto0DsPoxkJkm/hm46UiSbYMbbxiTJpoM1grPRDIBB6NKFdgZwemCkCt5DIkgzV3qZzr/diRi2ZWTOC1SGXN13zcjlLIXoOpe/VnAiT5C26ZM5/FzmRiOdCV0XxR9VTMyUoy50yGLwipFX/kn+lq2PqD41LlQEL3wD81NwGpKGhROrGdSqiVqemIwILTsvpAaN4arcBTDkLFdEl7XtyHRO0uukbxkq51F8KWYmZaQdCXAr5QH2M0oVCcD3TfXs3D3fF1+cFI1Ytfo6WzuHTsCzka3tDcD2rJyeb5Rsb1XsG92mH7rKHvZcPpIjbkqDotGs5UFl2aOKbepA1mKIFzS+WDKnk8A+cgh9uGHDCsLcRD6lKSyiin6je+9sC/I8tPcLdj4VgS+x7eGlQBPzbOyoRrnI1rCm2cMXIk3hMSRu2IkAUDVE57oa/OpT7WXQpMmxTVBDFYVNaYmvSDXGOcNbmDA39YodyQF6rLn4fG7XGtZkWx24CDDKvPqrxGpIy4Sx4YV+P/Na8YRdhvLleGmDP6ujh98v7m4XKp6lSE70NS0Gm6BDYN26L7bK+RKu2AfvrOrlDkh0TDSdMG/c+ClWyzz5iGmnCADppcTIjl69HD7Wg/p5TvKrFCBPnL6O/XSoEc7qLvXSQVK/UnX2AKVIHl/XeehzOJPBD4SB19INxjJIE/ZFiPvqTQNQqJon0mWCY0mzfFKdUr5MBfeVZllNxtq53USFsoNBbmLb2RFuqehO0D7KzIhHqKqZdkVNoV8N0QlK5IJy9l/TJ/ALB4fwvJl4WU1H1J1h85rsqHamg5mUkNr3hVjwh+P3mIJZtRCZsE4ZIm/ZsdrSn2TSKnYbozfxtxZPITbnHrDi6d8TP/jjt430NnjpYEYndskEDqK6xDmKym0VA4lgVr2q2c5299YgFWSv4SA8hnY/tZ0XuTRqUXDloVPMvJU1Ri/XmaEut+6FXB2O94DHZeFkI2VOTMQvulMsIoasZmEcI+PqIi2duMkcy1HhCRyEcbm0IuaHXVUpPZ5+oQFXUgYrc8d0TZ9pXzjcvvf86uL9nWR1uYIkuFEK5vm7qcNYNXgR/eSJkqCQfTQ920FDOnClNWCnBta2aLR2pl4AY7YhZE2CQBw1c4yPYG638omCjLUK6xfRyhDDtvYpPuZSuPu1qMSFeqo0qXrSq5mu895fFh4zSPFzETNwWinSBA0fQYbUSMXf3+jUttUGz9cWsRdQmgHFIXi8abD9HIcseCPmvF4o0j+cvSunHO1lHKU/5RW3hF1SWIZLrq4fbY18ESkWDSLPsZ1ezJ1VUJfntKMUKPJB4wftZzjpQ0TjU+YgWZUi1TAPp9sNQGXvPV7S7XnsdE3U93E1A7fm2PwMTSqYyfRXBFF/w1Fxndbe562YY+753p+/+roQAmzp9wa0YAV1bd2InKjf3clIC2WXsMS7e6rz4v8CxRC2qMei+bivvEOe/1rSLOsnS7zomSP1YNSNA4SDaUZwScY5N/JL2iJTrKvUc8qilQ93fiihRMmt7iVnVG1/GGVRj1p0ysEkDObYZCoQLlWMEJyS37L8hiZeh99EGNkH6Ph+3icVneDkImO0FINNzQ7H/OaGguOf9a/aE9VgP7xVFeR7SCuMgNxtxVViiKvTwEPdQDVEM5IAaHkEBUliF+JPiyYiccNfSC2kqEiBEJb5zbI4KvvOmiTBx0R+doSWFXSXC89Q/jhGsr+jxGMUdaKg3shKb5Et3bnHbevKZIEUqcb3rB2CNFUOLx0dQUZyJOPtbaSPlrcU4IXIZk9YEJed4rZljelg59cWCu5R4TSghHs1eMh+eEeW2QEJcQG/IIllTPnESioWYAlZKuG+uWHyuuqHcxn535XObIl4LLfWoNHmfVeJDaNwWFQzUehRxM57xAej7rl0/oXNfRt6ni90Q8Q2NKi0oXLcYjKTwl3Kync/i924xVWz2cPX556BP9R5Vso2jXlVP+ABA3DMbvDPJQa/zlAHZnNHBMVKtoNXvkyrvHPrF/fScBGIKIt+IGfG0Sr7BKjxBWchY3EKdGNHFmN9sMBuOAfdNCfN+Z+W98aEO7alxPLBrW9hXWYE65FP4Iojq4VdaRIoc8Cg0z0N5i7gndvg+wbbdDJWmLjTRJoTOhqc2nR/0MWqK1kXM/eCpSd2+UZA+joCMZI8Qvmqe5pwtG7ZR5BE3j408JBuJnbDZxFY8p1T2yrfLgYr9vxlyNeO2swYRnkdhodJRPirzWoKsm0GNANxNMnPFPSLPdr6mmAoVBSCmpEOnY8znm1D+mJWUnR0L9xBdrqMraXAchfI7uTAao67wYyDl9147QhtCZ5RhIvoZT03+eGTQmem1diXa7pcxBd27Dmq+YmhqOvNOe8NDy1Qo7PeFXeJvOUJ3qnfsb3Qifqvhh8g2Q3E0F2QRDa15XMEE7wyX4Myqk7NqQBFfnlkgyImqMhz21RcOhznYSMJiRbwbuhfgobNLdkLhqR5Xe4rUEa9VA/D7lsIFt7VuSiMDyHnDKVax1kEHrf4/vx84JlywFvds48nhpG2nGbSDzB5BGfxzL2IcAFxBg8ahQYcuzw4ePV5BfNJe4MeO/ucagJIsukqa/J11m7HwvDUou3pv+sZ+ow3Qp89ugNZaA3fBWrxmj4zqPRc2XJZ97ZvoLtB3Xg4FYukf/f6PGxxsFwYjTkmKCTpGSJDJLxmi1/zx/G7IkkFF1G6T/HBl9P+Vg4RQF345bEGJDCTBYTk+ER+fEK4yQu9IwayflpSdwOZ0t5Sj06Ui0vAG9tgNHfPkChs09UHvwk6si5KgDVrvE1o69OopseNDHskGBsDwOZddJuuAXQ88HKWoh1N6OL/eWIVhz8m2I/NUJ9OnZ5GWHnzoy9Pgr4tQ2K5C/1EP+B43989o8OPQU/CP2mkQXf2dV681pi6SNO5YLuCZDmjI04XKffZGNWIQflAqBxGxO5CKUoKu/2owh/yGQFXpKpauad/hO+FhwhL/QW4apD/vG1hRacWxkb/W3scLlMXdnWLGqMlsTwDLRsnSCvzAs2bcAlDs0/BGCyROqTqnUTz1rxUUL45W1cPP9UQa9KG5ikTcBxMTNzlKinhEXR7kOxcceu3OQNMCJL/rn7+iwcFdjdW15vJUEddI1VCmnETWxGSGeCgKlFRuyEibyULTX8KI+JvLTXvjfitGqTbnd/b4dCdMZGkxBYuoqtcW0c47ZZf7q83MRofAYo/RqMjB2JnOAsNPOznnlXUaOBtr2iwQ1uZQj3xCi6WoS53lOB/00afgBFH7mStCyy58kwgrw9fiQc4r/vORGSLx6giz0OECqHz7lTVM5Ty0RKR9xva7mAi2pxsUMoax4BCYAqacewowK2i7TucUieiN6ke21Pizuqt10gNUdE8yDVgcrUl9ay6gqnJGfkdj/CCaClMNBZZrYxQigdjN0xGbqujtrWHFJnDLYrh8tLJ69B9LUjXhJssybUoLWRdL/2Hvk4VekXhEGbowERty4RUIBmvdGzW/XZb7/cQPrxL0ftIUbDo/P60MNQP/KhLmsFOBMGNKzOqALbjJm4J0XAa+QdU/w10vJTPhMyrJKQIg3CgbSmWdlHy9wmx8OCEWr5JQWvsFdHp6c7mz+hrqCx0bDkMupf431m0TBoHozNGB74Tmy+5NOOikE8ppC5HSQqHhUvcDEelm39YuQAM7dUWTmscFRGPmXqs/SoxavLRr/RPRf9eaCwDY+j0bQC3IodlFcRiUSUup1AIWBhZtlYbWpvH9CkaTE2xRfDnZBRlpY/AJdGI4Nu8n9ZUBVtQVFV3V7/mdjdOU+JdAM2IQIPRUFG3qf0IcOpiG3eo7+XEbWFqi1et2J7yvTs/z9kCK+JA0PRBRg1alYBmGsUqH+5XhztmBepwnVn+9Rf2dLmrLEvUR9ngrS6BTcnLXbxKj6D75Uh+uq7khg8fUBXIVjYL5LyK04h1SuRRKn7qpV/ifDmg70Tqb//HpDUIRhrHgFTFjUpZ6nu95eDECB+0jCoyclqz1jD3L5mI/opFBP0E2gAjmk0u6UV3i8/7YS4nMkNUJKIipup0l+ZpsYoOhaJ2tT6KpZNXRo9UyfigClrKPpqCRzfW07X6Nbz9JrjdZp4WfYZtOZInxvuyevF3euN5Jpdtea3K8yrPBM6qCLvRFJZSNdkJbedgeLpud6l9esh65VedKyjAVKTaj/iZhGMCnQfRhRRI/Q3j8bwQb+S/CXkz3CLJn+HvAC0f46NlyGbE1oVluMKykB+mDC+dpSglHrIjV9wsM8YfIVVwjb3ic8aO6I2VP0qf/ebvdt5gsVIQVY8nwIRmQbrs8jsPZg9AlM7zSGsEKg1Z5Be8DnIkVWWOtG2Cd9jUp1S6VG9tGSkoFq3REyfLRbj/T6+0NrXkyashda5WWRTvakxoA5UOxkxS1qZase13tCxWWfVp1YnhIZPScBicxQRIjdFtwzxFBWH53R6XklHCQQiuf/HtDkmboNk0ifD5e48NFIjcimSHhD1DW+YLCQy2ihknTo9GWujQn16bOSP5nuf08Dr+77ItKNtnaZagXsxM5vV0mm23zgHkWQAw2nyAeuxMWE23raeeAf5R8PGKed450kuqmtpkfdDOn/WVj0mboZsXdj93OUjy3dGKFY1j0///lXTFL+BWMTBoYmsNorpZW1n7j4TjwsyCEkQbtxpyyTPBx+ANWvtGce8Pgoz5GGC3+xeB46ksvcdsTAeB9JwmUB5JzuZqOwSGnILfEhfaOo+Spv+mXmnDitK7SjkuhxZlLvBNUS5zrn9FPojRnhD4jlM9zwkMwBa8LVskr7h9VsUzk9Om10Q9dxJFcKJRLHFGp9MfOMpkQVluKcT5tcpf7ZbC4YKhdQLkR/FlWc76/63BYTtXOuLBXD24L+GsvUhA2SByCBrzcuPrWVzq6uHjZ6dTYw6XwdBLxLPv1JeMZA3Hk1YqMMdvN1xb+HtirbSGXS9Tb5smmzwXSh1v8nj8TLPuHrPAEQW05z5MZd59LVXt6Z0Fws0IkETKR7oMa+QHZwQmQwfrwdTKD6400ZaltAfglaJ0G/zncRyQwAeaM4k2+XALLZu7PP0SN8F7IBsgkD1ePIIyHkmSg1VT7QfYyCk0uB2+A1nc2STF8tZqi0arsCxElKCsepY5YGjsJEkUMnHxt5Utaw3+KCXvJku0UC6D8wDIhLGXaebG0UZ/drLEgTWsY9G29PhF6nGae2syPlTMVwtDqRAiTm4IO5LOCWYTChbSWc4uW2929sHm1dLPN1TZqoAUvrvLdzoumyU6u3MOBdf+XLYXnk+tjPFWXRBbPfWrvqS+yZTSAT575vLC0n9lSFp+O/HDwzLExlz893aUg2JjWL6inFI+pD4C738hbU5h3Q9cBLEGidgoa+nyml0P2JJuQigGjYAycl/YxRN0YKWTmIkuqps0LK8+LWZbddSaDBiamQzBtEilu8n9HPBU8KDQoJU38egG228x1vXVI06Ih9VCv9beKiqYoh+7RcxHa6XkCb5ZIOoVEXJCGF1gVGmf2tBv7y8KA0rPu4Dr7KKGZ+WSstK8rMkJqjLuZjXVGfkcnedLlClmv5J6Gn9V85NEANb9noXXE9cpZeQAFJzCHGETDixU02BzsJ9qPzCgCkKxKiHJAK19+YJ3qxcu94URgDhRJ8LabR9gVfu6GuMlXdv7KKL7qmAX2xz36ngHocQR1Jj7oiHOHaTlnR4kIOQqvehT0E5QE7CUYkq5keTYErp9/XWrrZEtsdfMy3UTn3EAvtVdhHq90h99+QGCKTBYMEXj1b8tUriG8q5+o/D7/W7LHzrjGF1R7J2ppIqsg3bkoJGfFBgbGSu4Bl9lIwPJQEyOI8dZ6WHJE98mFgKqkCAhdMJMjkPzPgdpE9wzya0fpKPJYJaq3P+Bh88gw64WnUUYpCJLnbhfPuCadrxvBMooGPVexUOQrRglQYWyedt93U5sQW7C2tdKJMdX0AjQpfzGn5is1MU1s/hlJfrcd6c5crngjex0nhOwlOxbX8klO0a6VYL9AtKaM0qqq1mHKhDHrDPoo4qs4TmD1pBSxRYchUlduajcKmiotDxShNzfnagYbjvtyM60tWcNfulNHSY1VvEuwT6sIHSHEDbyM7syiCQJWMW2sr/JstFXb8wFBzLglLqEaxNQ2w2S3HR8F0McyFbcXyaRUBgoxI1hrU4Cb4WQtXR9TnM6AloBs814Xqmb2Fd3DnwiF3O3p05j14X3x7FUHUHzlg+PyE5Ma8vnJN3jR+iA6KymNUxkxp1/OmDtd1J0B8NSpcCENnt9ioKc0lN1IFIvphdS1kJwyjQaEilMqNwwwkFfTyTAk2RBFrm8PKkIn11xOLa9WXihOQd+9kmQeNwKwT3/gyq3s7l3Ba/1BBNsjlWsPfHsUY5UO3sQts9Ui988v1Fdju5cr+p5k+e23AvW3Z9yF9dES2W5uhBI53qssT6DmETIY8uxlQZHI+dWTGkEOlJg6EvO0RY6SA3sZGWPlfVQOdzmSAoUTuwsJvQxYhILh3KnaRjyHrMhHaPySEt1SsFGtqWzMykNXrlT6HeMCkQu+9lwoUMg8PDEsuEmUh7arhm3zgQxtZ15NWApz81KbTnzyrtSqLmRXILcfJxu2tjxNc6Jh/Ge4/C3gI0eynbQLVYc9WoftNUO1emS5AfpggyU831kOuKeRr0fJgL/uU8YT2vAlRAEZebuZAFCVv5X9U1RntNb7unGEhu3nMnzoOGoGCaXmyv3RQ4SmRXd3DxfRPH4OjOfatAzADC8whQMSfoXtSGwoRSzWszOA2PFIDoLALKk5Hd3Sp+y4jFI1aV+v+4FNqQC63biqAKGS01DGuRbCsr/Qwpno+Wa/vrkX97lPD9blzbJwmV7vlbobLTL67W7y+J6cPWrFxfybgs6IbrwxG6UgkZBsNRrKEynoo92Q6l+t7bfp9o54n4PkJeT3t9snR5wYax6+OFC0R1PtEe7aXz90qzaVdpAEbi37ysNK/0Hn5LtiWSz08rvSD5r9+cKIgEZTJR/aaf0El4pA1MX+/bT8uuZuj+0Q8WosXT7jj2g09Q11J6K6f81ucsFI/qM35rn4sI3nYSoMezNe5xc8yXhCqrr1HjdxZbDyAh5vDqIEWX4rExnqeeqPSFrz+hSTbAlpsOoAorYFvWbYlY/8Obo643Usg3n0FCSpRGp+Pxu1C/aBkVuABUBXTJS65Uuj4jRuZOXaXDMJ3FWZClhv0vv71H0ShBrpdt5vTkL1hwsbYjEJ9aFcox6rNC6+qVWmXPwVmsdLcCb3BYT4cbdZ/9CuVh8zNTCJHxem5OLBEbC3+gYneSQyytzxNjBOF23Cbao4tK/1GdrAk/Hr5NDNYFvv26vpIu1Cu/MpdXIrj8UtDFBZxpE2ygEtCWyNSx5aYmSsEoSk1ajPLSQ024inNHCfdGRTbjwFVjLfO1KkhfyGU92e6oxFhIuMBQ1qE3rZYO7IW5qP0MOn2YHW+39ruHP6EYlK1IKStGblOZSYLc9yL+k5/rKcNrnM8djd8i9UoHt2dTSSxE8bh7ZYFoAW01XUiUY8+LSfhYfWW6iwW6sOZbOTNAFStwYjMboba0CUPgc0Ou4crjHYxAu1+gyOW7tvhx+jWK0CoOfCpnvXFXczvKGV3NaXmMC0YHHKWNCjnPQkvswklbPdP3GeD7eFk8lVgmKyo9PEBH0RL2qp7g+P/c/TO429fJckvMo9axrLOeAo0uKT8e9zsrx2hVCQgCo1Dmf17+9QXUWT+xldtCmtk7bvj5wCdHvaWtDksAb/HV2Ch7L/ABGd88YwetHUoO7kEMff/vxBqMVaxMUFbiQw8BHyGVEZVkVCX9TqosREt3pw6N1/VNMkplIP9cmulRcFb1DCFFx1gdJ0rHV8pBiWYygjZM4Y5OyNNqMojpt4aDMWHapQt14QqMTbPU8OWlS+AohWoTdo9BGJbLaa8LqhXrL6blsMAH21zjFj0uByVLYg3nnhbo0GY1OlL5BZ/QYbkpaaCC4o26d2jdrqOyQdSoVvT767lzKUM1MElYoHg2SwxS7FEEylSd645TnbQwxdgY4k7uicQKwd+kLpZVF2QadbUaObdJpEK5y5tVj68+qS3A19Vj4MVKbkAIkd2r4iYdHypeAHcBYfhzgNMVi2uihn307Vo7uv68LXnJVfCyFTFR44aeNngRIgg696FlXy73ZXyAL1doyvVGoThFQVsTuH8xz7vRWXE2Fc9tHrBtRjBqMfuGfesh4jowPOz1KS7XOfxmGQdJHFb63sg+KOkDKJAJda4wR4YQX5W5cEVfHCdJ1Td20+d+tKd9iXOR6t7yxSUcaIz0qUYI3yMVlwa95dkHk5KXTVZT0DkpNCDpdBoayNVlbJ1+FT1ilV72NsdhEulT6G6RlsuEVOKi6agJmbRZOy2hLDgINQszJ7NKXo4ZCNLADaHu72spOTHNHstildjq8b/ngXvl1MJFCQJk+NEUe7qotC2WGFttbwyUbt4VXxDQZatxt5+XZQtwwTaQ8iRl/RGMPJVR08V5JeRsqYrYv5zdVff+yLfc+Grgve5EdYynchTce3aUkKSwpK+YD5VqVv1IQltaYwrf9Ej9SSh+pZ2ksoD1UHik3KT2Gg8XTknP9QzyNTDsvWeiPFriHm9QiXxNKBvnrHT2poxDYlZnpCRdcm7sdR4Yyz6C8IBIbk5aVPqJiGyZI4teNbKjJ2BJCk9SaBklGzp/R9eSWlgKctH37//Gq6jU171p0ObukYLUAPogFoY5+DN8TC3CEDSGFDTU6RVo/f1CuCEnOun5PjZHL3G1M8BjiJaZlCOIY4cVYCvlqSIHHI6HF0M8fnxM/DNyquSwg37fREoEp6St9RWMVbMCOid4eXjb17qwtB+7mP1lFHzCCg4/1jNSLsmEEi0m8RWnMaDqwmTuqKSICFs0dMO7PFAR1BXwymL2nsFm0jLo2cizF5DQVkNWXPeYI1LepZgSx+uTMXvsaWN8xUy1PY45PZ9BLIYSzhUaeBSdoyJt4JgGSc2wS/51xqbWWmLVZVv3duKPS+RsKqcapY7TVW1NBsG6umYDAIw8k+x80ZqeLlVbLKdhmWrxIxP67VijhJ51s1QZlNXQr7mkWpTjgtKYUzWCH/2iGBZxZ0W0qj2xa0kn1df8SFaMskX4yrMcB3YwaVjwrXoLnskp11A6Vit0lPjLhLq1MJyJIEX9R7q/82escUSaHBypG/+zXHX3xxvwDHI9ss49GphU9p+lao46C4r77xb0WU2qG/c/+lXiD84DOURwa/SPgH0/6jN2nIPmeIIfEj9MTj86ugUSBOcXY1BBEOxvbRgdX8pOG4hdbDZXCt4khwFK/m7M/b3eXFu8mhe8nSj2llJ+FJk/Ieq+gsYjR60JxAeoqww/33pP6UqJLRgql/ej6m+7LmrmTkhCXTIDI5XlMWr/wwLxUK50moTW7j3IBH0hdDP1hGBS8pEUa3bg6wdiugLTrt/VaJIW06juBbT3GwV76+BonpVCNNfMaww5ZuTn6EiWUht7d7oykBZ6C9pIRnb7HUt+CUrqV6QElQ6l0m4v0rKlEiqf7M6FzjslCLmNwDwCHawUupMxErDaED6ekppszutSsYy3o/RgbCwPsCC3YzSjxVD3Ysn7m9aWUz2Ne/iNOu5Rsgug3EoZ4FuOJkF9I2U/BGS8hMis7Ec/VAXtI7X8JG3pJtYw3/xsuO5uu9osxCqWnL0n5D7t7GQNXDgx5FrSE6GGA63PCGCP+H0NO1uY0joE3FK3AX0m1laf7yR+1mcAVagkTZ+FZeBzgypRHD3jQGNUO4mYWC3Xxi04T4NLTq97NkVonbAP+7P+1w8Q3seKpC38KoAXbQ84Bb+cJUjtHfta9nEahK5smSaAFlwJ8F23HwT6tmMqUXZEiQmbuJCiNVpvXLvqspPaMCJ2JtumW55tLItV3fjUPIXjwptAKG7ap9fZK/JBBO3ukg73flnrBlA4+9T4L597luHVpw4+fnV86PJ5n9TcFqRCi9CLUQ64JsuGdejUAtWrxDfX7c82QejCW+uWTdhbaNRpKhAFYH9Kk2zcZJrq5YaCYWyjbii0lRyze3+2NfVDjgnz6wG/aD+c3X/LyLOLLvKkbeNjTDajQzAOOLFfi1EE9pMt1Y2qFlKVme0Jde7EoPmRByxqoSFcW8JCEm/BFDvTFjtdTUwGw5gCgGE0jtBnn+M0o1aeqau1uyjF6OqnXw73AKIlx2GyGY8t+bKE6T22tNWVhPCnnCwLz/bt4hozBlblm2hMhv4WWGWj/Hg/FLxGJAtndmXWUgaS37Ac5SS5i/4JAm0Xqkn97EQZssYIZgwvQvPX/YQaUKyqNWc5Z0VmAfhwraZbzGgh93HZ4VgGpGLNuRiVQODL4k1XIfZaQ5Y2MgOLLGRk+tcRFVNCk4c/C132370e7Geoy/6HH4Y8mEx1XbGdZCRuLbNcVJapL2bD7qUqQXpU0i7XOY5qkpGbZgRsf8X3hYgg4Djg6UueRjipVLbs9hrtVswpdvqnoSL2Cu6QUShddcvfOFOIgsb/W4gLGSmtsKHNqlWKDhfregrmEwf2DNp6rTvh4/n/HmI0xAvELAY1q1c4X7yvx9i+A/NfYq4haRmtAsYpoieUMHTPsc6SXvoHY3JQ7QZTxbEq7m6Z/84gnbN5fMryyVQ2X2nFxge6nUfevRnrKZy49g7Y2xPdjW7n8OKKBM+fMicpRfjRhkRfFTaYM+Ed/LGx/jy3ChwWSSzsPYm+K8gh82EqZ5HJ2WkTag5DBWKkqrdtL84xfg8LpWPh7r7MZKkCi5F60ZvRR3QtmUUfTa7KRZKntUK6/kiHf6c8uJPvivuPtMDzr7eNmNsG/d1O6mCpeca3DwJP4dfdz290mG2d9LO0o78d9ArBi2j3FF8HpzEJJhihypGq7OPOmQV49XSQvJ64UO8e0w8T2fqX5foWzj4Z+SH8tKzhtQDMk6vilNxNNiAMH+9JgeJWd02WG8rWqsCd+gTOwwPpx0JOL9TRktt2afDtG/T+5T9o6pxiVdqwQ/+rZ2VM3hoCdbVRfW4Mh8xLLQHza3XdX3Y1/JopWeWrHr6XhXIFwBJXg5Vkf6EoeFTrLf7xqKYP0+xod4JbQ7mjtm79ENMCBk+xZYQNcRuxb4MJKuUz474wEwyrCCx80qLWMjqnAkCQwTG9i97GWFQS3gq7XhKYXBxb4/4oNQUY7ipnwzGx+TEtroVfOcmdxcTem9SGfMDV6vWFfJ6ruLXaJ435nNgCp2gX+okPED+RTPW5wcnuj0pZ46FTyZVMi+LLIp49KJMAp41ymOMCe/c2gKWqOOfxdYisM/BimXq6cGej8g9bvBRH2KuXBa15kUCbgf5GydiTsW59frh4ToIfqBkK/j5zTCc/8U/jULxS4iZAkd3FoLgvxriMselKaBTaS4uzUsOq0rInjILoIQcAIMXV67LxCXpYKRWFohO0C3DpxUJ5aU0uMPGavXYpmgNGlvgTQqcYzemNlqZH9TS038HzGvxg9AWULKLmSDTdDiDnui9qg5piTX/FJAcYaIW3A4//bV2S1OnUcm0MFI48aeEAqswCvJg+hidOAF0Idm5N1yfIM5Z2Fd9Fym7dDLzjBGppd1az1vqyi76/8SKm+UZknOMKKtNP6Em1dKFP9MefxNdo4IXd86Hy7bv4RFHQL+Gn3JlDvLHbYtFHNYBd6Lbb63uxMrcueuQYKU94O8vojjEGBep7/dGo2x++9sZ6M3Qj0dkGWYcgmw5a1K+lHSwOZm5hJ/cWeSSkjixeuLkVA3m3El3Rh2M4onSulFGaMS1Oa/rr0yr0m6tVnVzvjuaJoGw3Uk8K/yqKlr0hulle3Z44tOtwCJyuY0bx1UC+PfkJ8C5FUCho9933rGz3sEdohLxYgncCawM59VWooxyXDMlFh7RC0f3g6eALqzMnfypuR45kTTHUvxRuHyNRsmSmObVwx4kD++8IBt1mvKvkkctdv7Z0mBb4bq7dzPy2TCX4xzsZavqcIjyx1dMS4+beYo/0UrFNoexwaVMCizSi1qvrvbdFrGOy22eJtglq6g138xQNp4l0MjljN1JwYS77cJlHFOgNG4u+GN14MSXm/THqgE5h1NYiqif4a40sZ0yvI6Y0DU8Jx6RFAS73Yvy3y679McgdbUtfIE6DGgDAUlS4NFG++9UGgsAlIgegv4AYTivqNSi0fsIaYHE9X33zHtmxia/5kBgzmQBDtCvvoJvPRk0NL0FgVZwq77zcdj3aqbo4Vst3bVNbJEDE01RjkcBT8JmKSVJnb5U6GLaANGWvwBcm1stNKkcauerz4/t5jcMT7/zySTQ+87LKHfepnWUdAndv1N9otBnI1SFRiL8MlgbtcOKSb0Gfy2g7bWB4r3v6IE71nFwncbnoYxibkC6/ssrBj86hRZZ+IAHbpEdfjSEQWa/+roCewSpX5GJlI3nnp7/KVox1+oXMehWJMap/MLCMSLsnh+PCqckvcc2ahZcKIue24F8jKQ0xee1bVe0Ily31+AXClP44KhEf/2BqB9+tzfQCdas1wywrFOdLLhLtVMuIicevEDJxQp98qvTrpUmarHpFA+YPnShKlxNCCaLiuQSQUwKePtNYsQD7GSfIfE/Hri3iNdmcYOfODGB4ZPDHjR7EnzX30JJuEUeaavMVI8PSjSLv0YpIjonlkOvDz1AGRd2HUjka8GVhFLOIh6Tuygocrh7jGgrP7TE2dFe/3ekq9FRXgu1rtPEAi937Nld54Jl2Va3U+ZLQeHp7XK+ISjCxRroPNLXQR0FGNoGKVuwy9+rJi/s16hBdBt/kMtt51EmJZZH/o2/2YoeEp2AGYli9T4aDQr6lSOyD/pPzkMFbPGOMWfL2hAUiJb7q7hvf/hkr0qWPEFxqUYZM74d41GUZSR7tgtH8+AXfscMweLbIk9BN8cgdli2GHBKdi0uv7RQMpAWrkbTyfJaMx205vzoybg7H/JUoO0z6I7gwdL88Z4l6GGRxq+vBqpSgnNYgF1nxna39CZl00ahIm2WCqH0xjwJZwfi+PowPrjsx/JdVFf4WPxD4aptm/a9lEAUUwL7d25wWFFfMzP/HDST2P3l4Xxp9n6h/7KDObGd/Bu2UmurXwipuIbn6r0LayucU4h4VM8bl/MN2+3XMk/tkeI37hwE5pfdtCWprG+iK+4Xp3wsu7bVx8FKtrOMIRzAUoOZmPQ7PNWBmBihA+EXt7GEO7yO+zh+Hj+q5904LmV8DgvgyjmB2LKcdXwr8dOS5T3IvcMv6d2Mn21Mx0KAvroWVg8ntJ/VtUPdJpI2fLnoD8g6KPLtWmaxQG1Vlso12CUPC9GpyhiLo7mC2FUEWQysfpRckndldsilYndtm+lDfOCyuneYuFDIXl4rU6wQEV/OLwjl1DGe5fhHw2Dy0e4Rng6aeDedfS7NaYwBKMpkKWwJYBe53tNRCtFobsBIXbZhItNoluQChHAYqgOKRWzqY4qqm3jEp5+zRgq/rgMhSf3Cncv5PMbxQsKRd1GIUnuNnGoYLpyEyNBpRsdA35LnvxpLWTHLHCfGz+5OPeSWfziiNwLOlLCnuKCUbjAWP0DV6E5QPmflHjHjZol2KUZ8JfiAGN3+EHuRCSx+Z+Dxe43+PUVmhdEZqkeFmAvqb0DthQw+4gAGJ7awvmnXSPMgwIgz0mW+MMmmH806JWWjlZOizbJkmCJRi+gsNk3x40q3BZaVHC46QEEARFV5XdE6wYIGP+Kgno6XmYsWqO3Q6b/I7ZVqik6sMOJC2hcf58QTkc8eBJ53M+uO+FF2iiSy2TnaSDyFobh+NEPDL7Ay2JwZFeSIIXGpCrR56Gbq1L0xNZzSOomxftWZoJYXYoPy6XV4j2kWr4B0Pet3o0LizargUGuw/vt4iTzKVnuzi+ojyf3dLsS+t5vJvXOtDVK7WBrneWmzc+LIg6vveALORJPCDzEftRloC1+Z3SIvUtUU9bkcPS4soC7Eha4QEkxy2m7SXTwoiaxy3sw5xSY0LBhPpzUdJR8Zc0d4odYkGcTai2qvW4k773XxpZH/WXgpLmdM2Ue9g7TIDE0gHfrJw4kf4PWmepKKqXJ9P8UNhBIkKvD80RdQoMAkT+k8CWsXDqhpL4naaXgrYm9LXJ5IO+LHkL/H3UGvp3EJGorLywHxDkHS2BBPZWQBV0QOUzthk4z+iveYjE7iRU10LyLluJVMdDi+/D6HsbD6tSptmHz5V7cLpXqmScG+JH0scwxnu63wSoAX7dgqlfmbaaUbHtYiGa8npYeApvir7rGpe0bpwlEm6RwsYPaiUvcEHsVSpjQTs/UeMWzs1vwc1QC7Ap2jLBH2fDuvfR733s5HONG7jfpvmsx18i3qN/MDQVVhe2nkcsyNq6KOiIt3g9SqDUnQ05LRFYtV4w9LzF+fdE0Juovbsdg5VCrbNIC7nir1Lye3qB1bFJ3/j0yzVF9sDzAj98kxDHcLk4QpelnejLQb3Lz7kCAoJEhcygiX/bSVlB1hchez5kGh9u05CVbBKHnNIBmcLTwYLOEFiBRTa1fLGLPhYEUjKF5/BMW072J65yeLwLHkY6sG//48zq92O4au1rbQIQ0mCs0Wslg5oxL8gf3jz8Knm2gVNmFAKSKmxz1/8UcCJMEIpEqU6szJPSJcq56LTR6aEXhpmqg5JAoSlQetNfU07XrRd1APOt4AJxdVVA+AvOIHNCdH7+hrmG6hOUhca6GC9aCZ7gqWYTKqIxJZO/pS2iMGKAsyU8zbqO5wGNI421QbyxSMinRgh1cJn2VcDbvrAq4K2ZaeLh/BU3ud3aj8TRx4tKl9Qet1U9qw7rrQ+XluAos221GhnUjTsXIOAwnNJcXwgVR77AfB/ZzWCXFaHEflpPJaNCO8F/5Z12Uw8rfphQMLCCP3CEzUfTiwFMtryJG23OJxEE98oZ+MNCIkfqbSK3W4wbg7iMSmZ2AfVaEKpL4p1LdaEoE5Su8sOWjZKNv7MnEPHvf9+JKHQArXBZevbOoPc4VLjJNlztQCAsvXG+I08xthFi7M0vbgnsN+4+5ejHIo5OuwGAYvsNiGCWipO/LdfiPRWxfcJLdlfzrZATInF449cP8w2MRgBHGDW0FxYF+kgbnMSBZmS9SqSUz8o4298qnCqRPA/JBi8XMb3ZoJf/hF/gm2i77++r+gG+eL1psuN+soGcCaAl71GxmTvw9HR1SmkDQ1YfQOGb6yl84aXYsD2eUV75urQRaJ3rUp4h/A/cl8mIkTihPksz43FunSjPalA6mnQ/a3/TCBeEz1GQs03pzTc7ve0ZoJ1t7/o37epdv4qyBOJVY7rs7xsllxn+VdHDl8hd8gjjW//eAv/2kZYqRks0HFPz4sFTJHxNbwaTdBssqqorq9tNLb2fxtAeVA9IzHApLAV3sosfzrlp0Rz6EOkQ8kD4JfS9IrHMDhCwaepUJuS9k9Uf6oiO7qk4728EU9W014GjC5Q85QcKcAupfC8R6LABas6KeieszQt/qH+fSSov/t3uu0Ng4P3LHAXFNsQiFmj5S/azooqWgaIxBE4Um0p62gbXQpjxg2IyIZLY8uqPuvZuJHbSEH+ZnLlA147eSVN8QbKbCAMSpY05W5wWNdlnliPIxYIS1n7Gpvi+8cNXoHgInISMszpTCiTLnVEhv7Di2MhKzfGvwqZBo4lR5qQeHYAvh1jgGTLTQb3cCtQapltnuRPCU2sGheD3NzCFZKp4p/vp5V1tawLm8z9hFgl7FfBXPIrJ32HheCBApkmLvkPmlk6vQEHowISpljXRn95wuOXxepGmTOm6JDX1RS84QdgwNZAL3RMY5xK1y5Fffp9FtMAkxNnsQ3K7zO7Ng8I2ZEMYOD0/MLVbChaREwt1jsanFv9CugjlFSMJ3cxNUNJZE3W5Xzim86A0HYZyqbJVwIcQDad2fJg4ro56U40V0GxjxsdVQMQKaFLcVtyn4XAu4V0NQB2b8P+DREJes1BqEKgXaCtaKi94CZ8i1vQp5ak3nS5vZT32c+hPRiL5M9VtbdIj+raNPgUF5LUCLyt3GP8MkUmQDaqhozwrh6s0eW2RsWJ8hOJDTL6tZ9oKcipF669SkdL4JyvJkIS51OFQ44mLjXYWDFa3hoIKYEzft8nhXzRsxZF9vP0E/rR3EdA/U6yI4+zyK5f6jC1IjU88KdjngknBhpeMof4eDFtK06WAwnC6OB+Y4H8egk2KJECOvC/0WKoJLIx8BhzU1bNQDXzXjiPN2yQz38ROIZcLh4Uc8SJkCvdycYT9LJCnvtiD4CTZNL4NGhBQZqeV2bYtrwYZjDxsGIfIRZa/w7aLnUexxa/lRtqYJatL0lZGA9rntheDo2jZk6gYzWjyhmxcaFr7EBX1tgDYDC0tu0kypkGlmpfB1HrDR8cYhMAMcykFe5C+lTKN/xguL6TCBNBtURDK8Bv/iPLY0cU29H/i3cB3fPqM7M2Zd4v89MxX1MAEm7eAdXXWcIFTfpoxCqF/S6NlnT3INXEs6ifVZPwBpORCvbfcBUJuyuXgpNgm/Ae/QtfhG7DxV4xX5+ZFtLxap+eNM1SEaCg6lDGw7ldXwla6ac2QDh9weYXLF6pmXccTXRu8tK4J4qjN2uCLUNM/vAx+rvDiLOEJtOoA6Ejc3t6Gl1Lg56f4iDiAPLa1VMaoWbTXObP2BPui05Q2t5w8jE3Vw/BX3pwr9UsABKDrNLRahvOZNNViy803z86X4rh397F4n9fsnxQ6AJllb5GMOdtUpyrgljXrgCZNlhRiyX2XCu9hOphGtmC/tO3XhSgGoqOKGraCMEThpVbUWT+lUcb9XUxlcH6BZ8uD6Dy4fZ36Fzcgo0YbgqnLSS20Jn5Rl0t0AWItDESK6ysKtBdBNxUAVijg2ItD80Oxx6iA1s6dACi/s+ZTweEMbHXvLf9pXKcMVPerKpS2k2wDhIyCSPAaSrHww3JbKjixxE6YVKYTlMRcjXgFHhAGAsPsbiykymmXnIg/QD4pP1Y6gLNK0tVrZQSDXYvDl5KI73BDZUKFbB7WyN9QbWc65ScXmK8eQ5PsjV9VRHbDwuAaYbNg/Q9rebj0DXPlv57uJgpaFpd99ajKgtbUtnK48XQmAHqCHuLgV66cu/ZeGaAQkWkD1nfhUFGYv1X8Id8pDviQ3GGDBnaOAv8JdB+icn0P9vHLL67Ngbrs4DhrT49LOev3c6ndxu4dv5D2s/NdFHnoTN3i93HIoWeH5QyZfzFO3oMJk9CAcw2dDtSRd7GiSu90+aOLuTqnf+KHgcXT5NVHNZOS9CxrWXuTKRNEsFjNFHqNdYnAAYg8efieMmNnjTVx/gCZhglHXD2ZiJDCJVxYzpbG8Su6TnHB2gScsVdsq4fS9hx0565gzORSWnzAXiIb3Tsd3vngm41zUknrExrPeaevMTfBIR6hyVok+v8MxzjTmqIor1GSaD5rd03JJ+mnbkyUc1Ni2A/1kesTfq0jxuTtHyxa2djoQw9MpRFQC4m+OssRkNKuPmtnp6V88kQf/sGFh2AJml+IB4w5XcGtq8FyN9IGZ7UQ0eAFh7MibZBksqXFYA/85bEn5SF2z+FEp9zGj4k8XmZN7Dc1/mnQho23MSArVwieDA4ZmUvT38PIsBlGS709Yscw6r7X/YGMIEOkith8KFOoLNd4jerVq3IRyKZDySCIyUw8t88pAt249vjqp29/63WOuBUeAiFobbP7FJXYMyckmCqg02f8lgqG/c7wkxgkNwLFN9n8MupI+0rRiHjyAr285iUZjnZf+rspkEVMJEvgPer+gdRnNqg6+HoWS0wthowYFm3oah4U5HIY/WnktMG295FkCJG5dcH7foPggLNHjgmyR3QJ7oS/I6+NV2DM6h78Ge0t0jigj7uKEX4iSJGAXg2Rs2TA5sWX89kEWlPEj9WFQJeIitWkyxbLNgKgn7yE6+ffJ+eqe+WWL3SaVs9HkIYUtUp//C2GpK1/qOHXJPBD57UPmZDj+utRsnr/b0VA1ou0za/K9BrJNfOXo00x9MUEEtHwg2Y7q35bxx8u+aLf1d7OEd6qceG3pg9Zc4QYwHYWPFkmN/qruAO95NLLZ9dkSij5Yk5yYaHNZqyw9cCPXP11xM4JYiYZa9esg9Nu7Y5TtZYKbrl9XRChvecN+sV6+5NZOs3Qfnlzj679VPz3ang/7vOl7vvtsz8ArCB2eMHxLx0R5+bqMRG9effklMITUiKGP+varDzwS/XIfHms31eOTZW5+p1w/VuPrv6viFS8lf8AH3Y/J95Ic26q9SUVs+8smUj+gH7Dw8+RgT2UDYO4gxiGt9Jqt7VnirUq9s6SExHN1D8JM9NN18JHqyJ07Ux5KwxlMn0Mm21jzM34+dXh9LJ0psP/9EUdexKLMt4Rk2IouGEfWewdmSL/FGjCOBbTKvuOQfxWmjT9xeGZeyq/GQWsTvvXXcZceqr7Y/0T2dMe/fkri9Vk4Qo3L56al9EbLr94Lwp0ZxAuSNTIbu7zmlzxFlekVR4J2z8By11WfQ2goqpOxbtFtayqEeoIUUgYA+cTAoYHFAsQw+hyedSddlBJ3daNmdCPbO+q13BiZICSOQEnt7RpQdKk8qvIb5XPwA/tkm9X8vZxC/ntgOeXtJ+RnEPfH8YKQGFQLFQnxUPRjVmzbPWQWrE5bgVxGsb3y7mN/vi546hAkUqGMgPz+8WobgL2Hqx7kqZFZ5jeKDYPpuWQohRdRBirNZRQcaZKfAgWeykJgmNQ+Ejsa+6pLBh8TSjOLQ0mPyc+cJDGyIGRIrKR8nMxYwj836vSY6acxxYMs1Fn/q086VKpCEs+5erO7ktZ+E/qKx7PNgAHfoiOHjPMXoJrmuiVJ8JqcAW+ohbQwv7esUhxDOxshBlVGwX+t+TQHyoZKTFhWd302esO+k2RAEp0YnqvpEhZPlSGtAZ0eDD8VBs/EsBjlbeKQaQDM6zHo4aKSp27XZPgVazYfBwrVFZyJVMoyQlrjo5qkrGzcdm4E5UmaJgGXTPEsD1iUfa6RFDxc5mhvg2YsPtOB6iYRibNWjiyczuC+TtlLebKTetkRIfUdT3Kv5JJjl9NZJsuOvysaqZH81bzS47PdLi4sAi51IgIb6PRvAZPeenGBjVQsCZWDRQtT7Axs99Pvj/GMPKEBskhpKfbq4ZOyVWeM16O6l6Cd39wyHLPjXz4w2cj5PbRljUkB4heIdJ/xciriCRfeFwTWy80JstRvdRrRriUaeuAwHRX23eyGAqRyU4hULoqb6L69NtaUADcswS6tJY6EqtVKNjaF2Zm2/21h9Lkc2M4eL11I1Hqn3G7vAVc++D0T/mXq2vwhzPynrlzTYDK5VRxSnSbjyw3v9m7Iy4mQ2T5RWEwguDq+httV2EFRWdkn+aa4mVHVbWWSOygyi+ePGtIfsbIs/tNGoZkN1MQ+l3PNNNldQH9MZvKsSDYPXPPgMIVNpCKpnlo/ATxx6OCYT4VEG+4iI0qjdhJg5bFgOhn1OYcRT0GFzpflHk7vmKQ93MoSrA2zOWNE6Y3tt2jEeGNIukmWqUaSbNPyiGIkDQl2SiuYxudxkFzKtgSBbWdg6y0q816CK9V3G3i/ykiV9coR0cbinwahE9Usazf7jcZd77CjfG7Bo4uDdNxpO/dc98cV536gLTal3+RLoCoiPZ73Lsqt02+JDn7NjDt54pngPJZMzSABgzkeX/wOzEe4elpTCGi/h8AvOS/+PK82kx7sx7WvaZUCz7P65ZPIjuLsTo7hujreQPXzchHQHDJJ6D9fAnPOperD47EaiaaXsDigpy/yqYUuOdeNUcGVXwTt0uI6KNDDbVxbcz3Y0Ff+uR+LdfR5X5QGpAHEow1EiDulXWNw5fcOAFn4pflaRe0Ad3+fXLKUwuDbK4RXErId7MtWyFly2GThdmqdBiw9E8B9GPuzFmPSL5msSEA0pEk7Feq5ksxgItPIOW14B0wLi7z0bopv3FZBovcTsT36HB+mC71AJP6Omh/qEeBGS4qpTNX+UFsKSX9hJw4if0y0iPKgSxoWnpegAmNRezssSJ5yAqnpF8K/eb7aUJzbBmCD/6ygQviZyaF0qgkSmuH6FG9S5OYTuUFLmk/B5mkg97tsrubiltiQKx7diiAMUEIlVk9Xr/EBc7w0Tl4nG5DSSNXd6p98ULpgiIcpx/rvgU0KRK6SBvGQ9O9ayX5q78WZnE9xsDY6PsH79QBC0BG8uWBZ1KAD2lol6m39okVqEoitO5ZVH85IMQRSMOaU3XwJq1FH7x+xnjLLSKzb2ypudiYuff+JwY6rZU0t8qJRjOlqtxk0tYKWkckkGJZEz91fv/BhtLmfGBoOPkzr5tp41XY+d0gwNUMXMpcCE+CbU437c6wi2TEe7AV9EcLpdDE6+03KvFX8KjHiaimK5G3SF9mTa2FslnD38byCVTZyAt1xpx5l5ZufPdztK+JdesBWrb5G2A96TfoScEjI25QdmwfxNo3RnckUBUFc7UwbR4fUqQo3LEV1WPF/0piVip7NhB9WzKSzcMsjHxO9cdhFiXrJPXhxjHPd7wBrpPHDH7D+C5jFJvEHNzYrHq7lKhVNmBwkfFEuw2YJaczd2GbPTOG+w3EnC1mTgTQWs1PQWbUrHwOQL4bl3Lktkqxkes5o9oYA3cDT3l47xs01FcY1yp8WHQ+aIId/VozlleXeZoSE7KbiahFAm3s2WkMnBndrsAP7nsHc/+XfT08STAnIiNYb+PFLqaHAs4Z+EkAbF4NEn2LwMKwiUJ/vejKQQDw62sVWJmRPlcrl5gPcMv0S6oSDykz9HIG1evqTdFdd3Ddg8v7zk1NrCVug5eBckGVXzBavzOC32D7O29Dt1CchK/r1KyJMQdWxTDqGuBL4mImPhMZXrCm8lIzjkl4IsEk1DcMre+tihN+jSyiNSzaGcMS3U681X/k5yh2UxUGAejMXEzYSRMq7zJJy0VEnikY6aOuTMP9Vsk1WRGuGoW+fiPLq0dw/acLoYQIVWm4c2jvZ+8t2+mxhTbnoOMOrAMIZiznSKcASV80qSQSLBXeWCNpbP9m+gBkCXTFS0tT8Cd1VYSVdvh9prsNc0mW3yQWWsxu6mTscsRnFiA/aWtkaJ32mQ1tcShfaAKlgXJz/Pbrbyz0wCkghjuCKCxEu2fwPBTkUybw6ycVudGWKyEyggDgoZZpsxRaqjdVU0rxDiLNnkvEmsVfAVOYuYcu2n61v9/8Ru5bhhMr+p6jF5RF6oNkRNQfkG0MOa7sRGC2HAQPdDmzWkHDr52vckedVaqPwbfCJ1WZjruxkN8aViqGS4+g85VmwHPUCrdWL9U4zf/u8FgRAw9LFBepFH534Kw9smnlH63FuoKotiuiPAuwtoAdHfYnP96HMGLvDFiasB4vbLTyNXXAiYwX6bp+oU1o6fWoiMbTIJmNtgWVsFsUg7JBjweqt1XdyZyRJDIARn6wPrLdNh+jUGIL1/wxchj3KKGpHFtgFzXdDlmdOG9iOu/kIZPgDE/Ss1schsfHjkZ0XfhwyvgIixRZTUEkDj7FIJwPwJY8lJ/IS2tLf4aJuJLiuzNgSoxhzdfPcaYAoXNx9hI/6N+wPIKNhGYyI8ZKSZ7WC6BUn/iosO0GmEgXttLrqXzNDJe+RM0owiJVQP+Ro2i0RNlv/AtU4X7ASjv5STm9/xSI+nTaud4bO9Z34ccMoRmLUojmED4IGs4oI/tY2Y0Tf/h6pZF7t0haKL3i3X3Dx9GufJ6ATZ6gf6GvdYhhE+kwLvM0N20YBUkDDHAMWoCa3BPYbUC2ji07wxLQWibQsUzyO81437VLz6dlLBc98g/oeo6RekS9iqaNiuIov85Mk1GGdYXTgF50s4HBzVx2PdsdomFLHd1yiB7Gdbgt5sXMRaRT3J3+pzekmfenzjGCmTP+qq2DHSCDMPtk/VLu29ZvEzoyrIUPJHpfN/sTeSp6raBy7Dp3SOGolNj5ZPhSpjGHAHU2mpsWKCIx5rBCYv/nO4zXXl+0P6OCuvu9PZKYghvk76uZlrahFE4qzuO3DftYgfir6GrZlBOMtt/32QeYY8cMVpeMohKePtMx6e5vUTCmp4nl2/D3QPhAYY5QENmUP85BykBJRn2O9r4/0mvXjoZNVKZuwvqaRvaxk3iNzko4uihvsKZu2xVKbJ0uVGmWq2Jw1iDe0V8gcPapHCYzQ7wCWI37iAlyqBUg6CNxJYgkjb8Mft+sZiZyW1rwDGNWgGlTjlsBZgxnVzAcgua0O419LHlUeNScaf57pN8IxWKAQnS9KKxumlR7pnOaQJJt9wlOSN1JWhvM1z5wrAQmYVAqFLAI/bE24bZchQP+52QLGAI9RTXJRM3Br5qrGLBQX/hnr8eiXZFg8kvzYlCQ9BpOg5EEpVYpZfmRq9lO9We2qblfIUdAhq/7Be5jLFbrrAWwH3vdIrxA/mvimoP0pkJVwIFGzkuIZftE3//erqxb2b4Spp5T568LROBKys+t4S4zYKFDFgzeVdeIoU3/X1SEOmO0M1fMmc2fLO/80CXYwxD8LzGpyNOh8EJLzWLQJIs7LmvvZfb4h/fVSXxgDy5Rs6ViHwBR+E5+1CaTWNDBWVazmI1yWDVUFECSKCXJ3fcFK7P0mXQizu7xjyoiUSuQxRNCejuZSGlaZPUezxCI5boBFR+wY0thHaoY+lvisRcIB8rjL7yxdczDMyphxbb4SLT2t4294wqwrPxgRNcqN5ExTEHLdSdMQd3g7QsBFIy/72UyqUMvd/TR3apGSwUeNsezsAx32GXEjYDTE9z9L7lvyYiGXZBHh9ldHawGhJdFY7zL6nAe1l3AYrqakndIJBe5dnTJetR8uCmEvH03wLLfTGjHtFbqVOPXYT1otM3hL82LaMzHcVnmvUw3iZCfIULp61HR+uo1ziSUrNr82e2w/1/qHmt9pv0HRvOqAxcgk0pA+Ut/kafq3TdOGWJXci50YNY18+2Evwp3qy7fkBWZXwO091zCMwiB+NwF4SrA4vQxnRy7ZdNRZ9bS9JfyY0o4i37Q/yDCzvrgDz8u/b5flsiYz1bd6N4ZJuCvSC1TzUSOb40imMmon3wYtihi/k6SMpfwgXAREXjYlgiHYWVJAKaTHEr8DOoh2gTtwizVWpyevmQDY+Zbg6LGUJ1VWmo2Po/ZRBHou4dhqML2tvH8MziE2jwwzIVcfCkJcZOX9S9ABgSAo3/mJXhQcuAlxyuJodf/EIk8QZP4mXTbCg5nO14cCTiuCytGb2j2lF2rPHmxERsEDWtS4IxDzaS4NvkDg4y84QCmh0pfPkH92sZ8qAEyffyT3JKO0pLNYqTKr1dGZNEUsMwtok1vA+zvHyfpOvzUcic8SAzl+PJXzQI55G9eM4ZaEDQlQGbk3W02P6iPQDcaghOY22blfNzATwXtc6ZjZiZfW3DD/OznpHVBGg67YFyri/vhVGjQ/klnmu62TiWPQfmemVmYqWkeTnXvlvuldVUmoo7zvJFE5jPWLfdtGaCucVKCc7tvneMlW3CmMr30py3vksylkhK10c3uwdoj78kxM0E68G6vGh3wSk9uRANptA8nRp8aXVNAsk55woO8Zj58ubEVo4cO42YdEEcJvcunQkDr02P2sdNGwUpayqCVoI8bSyixAn0IrFnGbafrxEUaj/oRJFpUEpGFEpa//G7poZ5KAu/5W+sFXsbtIFNJtoOpOg/7i0YK3zr9mBc3VB+6vxGw3NmnI6xXz+VjxHujEF+3f0SRrbTYa4OMs2/V4h6V64jZZc9vw2Gg05cJwrFs690/e/i28NNbWM2O9c3lO2qSeusb1IWDHmKEcahcuK+oM+LVOWKlR2WyLNfJ8vz1GZo7SDXogPUQe7XavXJkzx4Ft0gT0E5FKXQeprPx3hJI9IrfQVNNmzSo8l7G5veIxBGDGiKd0PdaOZkBZl8PKlyU2PhiVlAlfdPPZQ5YL5XjMZI6BGHSy+3/4hAxarSGRJI4u9np+38isV7Z72NDQuGuZxdsRhtrpXUqJJ8jVCoIE7jOzMWXv5pU3bEOFNDkd8i+z0wrmatYx/yjZeuvyPwn9+7tnBE7eo8Mg8qAhjdr6MSQ8AKxD9IQaFKukdkDI2K70xzvf3RpQ5xoWB2Upz+qDW9uXng89Sfcs+lU8u3a9JD+VAN5feSgwXDNK9nZqgZszhLAwejVySULiRz9KHqPD0WbqcEoWBTtNIcBS2YehsYwh0w6jhC7YYLzav8F4JebdULbLejvi9pPVtOjGTuR3cWuqmm+3JP5/zABoK/Jo5Wk6D7y1Afp8HENGDnIfETKHoKT6bZrMtT+OhxCg3Im59Bwe86FCTHODpwKlwsi6LWCERiFTCfbwLzPRiu9+zzmHm5PLQcaRfjXD+vrPZyB0UVU1Eq9IgluT6Sv6U/v62Hru6QrNaRYK/qEKJkSymKhPG5OLjJDIz4f2aWA1R4q2QedbDArIadhIs7G7HX94UlNvJR4CwUwxG3krrMYt/vNOzyIrivPROU06QfIwWnto5XuEQ9El6DN+DQunSOE3ge/ul8QG6Kf5vOzUmO0Z7SDgInERfVsp9Bxd4qMP1ProOf1nK4+G4GB0iW+IBjiR7VGrCUToEcldLpq1u+IDpsmj0UAHoXVVQvOvh/WhUKIDJ7kphnDzWoQOwowlK2s6Yg58nh+lu0vxU5WTREpW/L/VGYyedK3KHxRtVv/UN4l4jNHIDnRuWibi1xqyUqrI83XorAOWghJuBje2D8ok+UK3qiwgBdq46FyhLke969dGv6sLIZyD599UOiyOvmnJdzA9g57QdvR8sen00d8XV89IBcIEPruAS1Vp3hDHLgjlNCaZf+G9vijWWJ4aBl94+wUOKkq9n8DRo8tc56OiS+ETZSR78fdbYPMbDbHcCo4OrL7xLb/vTj9DAqFGNQc9nTs85lQZIyg9m46LdFGQoRDZoNfbrUuMNN5EBBoxNGuP9YdDzZsoZm7OhGo7xFwTW3HOuNioJlr3D0w5qeGDktujs7IFCNde0pLSB0Cz/PXqFoAGfqPSZ0pJLu7ltNsD80xLQbRbxj2zCLo2TpTaRn2RQWihOqu30ZFjTA3ZH6NU91OPqxsrUglpRkjzJNSckTysr+Lp9tJeDDGe8jqEkMlDQTfSMtoJJLW1xTp9J6gNdcf6RziauAzhgnPWEXF8cI10fm0/Oe4t6WDIhDKQRC5f5yUWy1V2WhZSPOGzCvYWtspg5B+WtbSwvN7R3qZW6K+/5BOksc568xoHrlKH7RqLesew0OVU82AE9OfThICw7Qyku20A1glYv7cI3q8sGAZyk3IhYHZ+UmVkafNwgxE6cbd1tSpJLVGreVkZ2AeAeH6EXLMRdZcAe03fy8ojfSSK7sRXDCCYl9Q3Iy6FPB9gzt8ccEXMS+PP0xn1M6JigK9HtBDlpLvd0lLTlHONAnOHruoaGQVf8eFK+xzKvSp3YwDjXv/tDlGun2xqo/KQsKHSKIILd2qPK5s0V+aDdh/Bga0KMW28XO9l/xB+JQ+ODUlTAILHnf4L7GnFv0HQpzaYmw7ms0tQUbsu+vH3KxuCw/XKBwBOC5WFT9joT+VFOVU3YQ4JokvADqO9U6kC1W6yxrco0YYtRN6lIW8EgaMs7TNssj7sYGSAbpcOuymRGk7DJVgJNk/4jfbmJ66m9y1B0idwEFIEO8Nwgcd0gW/HCs/iBMy6GFNY0tOBKfbKy+nYC+CxuKn6pgH3jsh/k9+ocpwbBFUw7qdeHNRvJhee3Co0kWuUu3UxcnGzLT7GnjHY3tHCP74GqlMjEtZoGkHOCZp+42nZnzF6E2vRNdYGzxEU4Y6Td4GSK7TGJBPYmP0dAY5D46vX7tmzyc6ssZsBIFQebcohWrHXtWkVpEGEslZPG5kz+NZQ7x0u3kkkCGsDrY48YxZAbFGILgTHz4NTnHjeNtPVgA1pJkOmSabq8l2EiuhHCBPdNexDgPB/WNztRfD+rtl6wEgT9OrXXQTNafd+4zsUbwU+7sdAcC9KswejTHjkmQRgmy1rFuhf2aLnzJb90dhov+W6mQJKgY+/WWM/PxgPb77g/Pz+ZgMOnU9We0Pv2UZNu92hM0qAuOyuFQZ190HXYU8Jh2HsL0nXeT9crnSjCB8ovg09yMHXEOCdABlheeN+wRftrsDcjPwPPKxHJ/UGeU+7GRhb7iZAkimIroJxJsvvJjmRnKqm8uWsCUE+l/r7sraLcQ9CJFJN68ubWU/dbeOpVs/toz3BeLwqWIWLVDvJQdeA2Czij9CSGIm1NM1lJrHQUzRt283EtIi3eyxhDlWfbuZJdkVdDuNjUYKvZx9oSANClgFIysJ1zMS7PWAMB9qSAyWmafQDeDK+9p6+uuMz6UStRHq1furvjyJLwt7hvCq4cfBvREQTjBfzdeOEhIIe6FeMms2a18+0NZgMFF4zIAhPOWQp8W6kg5np3vqSv3SoK2DHCCVHtvGOZftR8izcejwM3+y8kC5ooypAiYglpaHqdIEx2yOe3kcodJ1QPYG7hLlCO/SfE+8DtHi/puwvLbFIycBQbz8u28klSdcJuDfhdB3zjDDMw+L1RuHOs8t/CAUPXpissIIQ9zqX/Hbo16QnhuEDvxiLY1dQ4k9T08zKQB0lwa3qb38x0d3/1bCUbryClMT7B4OtkmCQ1quvXSnW4mvLqCc+gCTUBqntb+xEiNfeSdwoPm51P4hC/kE4Z56IgWS1u8fisAFVYiqAUksp+/5nI7h0Kz13NafLpuoIFd8L2iy2DfZdmq+wLRoHIM3/bfXtfja5HEY12Utalof0CwOrnQCzOhwGd5Yp4LzWYitmHubI6UrPr4+f3CfX/aFbZy5qc8jJHKPPZl2RDnggjYH0NYYpQ68LoyOllTfcNKgSnOHJC2v6iZRMj9NhzjPM3NtTBlbrBjnGODrucCqIVcTyYK7/O/nrv8EBEDhaPgZdjU8uoNvBhI5OEkJ4HUdQIAR97MDNo+09jssRTXb0JK0rSa+NQ58dSz2I4IGZP6k5MRj5LfoDSX8dPVeUQ3SX/MgU/+7zD39tSk88c/BE/QhbrxnDp2p8dcE7e2LjS/grlsMcdlJAhFJCuCiVmPNO40kvETcRyDV+dYgMSCHQt5pZTWv36U/YHqMOX6G0o7dzSLrSoO4mxtUtpuo5l3+91czwfPmJpAV3LNyujkDBVMWigCH66A7XFiWn1NtTE3TugGvb6u1qBg04S1r9buL134C2GPR6mlPoVBedVN7LUPkKwNQvIkFwusbYnkxcituTdbCu4PbOQBiCzvdelkfB4/rQaPukPZcSkkZpizOn3X1/02okb14FS+0POs2mXZvYBy7Fb+NhFcw8Y2bqSleTahJ2+i5sMKvQrFefM8ab0dam1LIVFe+Dwy8qYdv6Xy7c49i1rzLD0Iae2yuWHqb/DCGdCiM7stPb6HX/+vk7388eUWQq4sXE4QZc3MlLalkHkLTjFL+e1GKRmmrf+zkXSLx6c4t5fwe02GFt/SA+8B1rUrDJA0MaHqQ7ZBfTkBwvNZ29cnCKwgkipsZw+4InWoLNpUYpVY29tuaTtb2dbY7hSz3aSpqO9XtaxSNi0P7T2O9DeYOON2JdYsUxg0ZUpbOMZGjDEqjr/DUu6MOijkYOQFdwWKdaL62C3OK5n0iGky58L21MZCTjkpoOJU3Al88+tLh2xqvi+RKEJ5X2im6DDFag3vBD4TqhVHiL2yJeRfbUC9mo2yP61m8OQ3NPrYHMR+lLv4dBB2mZXLuctma0/bIsaZF8oxnBpRLqaYk4KW9GO1GI0XIKAIAAx+jB5SQeKHTA/6BvtI0kCvv7TZGgmym4MdMHYsA8pdTP72ODX0HaFLippvQAQTejDvf3rLGrGAwLBeU/TekUPM48JnX4W+mpD6pwEeicNr2i7b0MvM+geVQ/6lXIHoWStyaZVJwZTl4GaXRIkHIB+kpy7Or9P/S/ikFL9msbgD7QSxM1CcYwwHhtxzeOlSvuBeFDzofiL2wgxDYd4ob3k8wn2m4/1CCY7IDHhm/SQyoanOnX772v56/ds08KmNBJVl5SuGYndn5l4Q0DetTDjzNSo4XAEEdQ2E9Xk46HbTdfCtYE8zAN1jGFsl09WFzvMgn9YHlSkqgDBtZajK+bhdyYX8CFCoho5AHo0DqJAllm9G6pEn601LkFrJkgCEUdz6DIlWDYOmc6AXCNwfSllatwzMUwLFtv1mVjYy60MSfyJPmCF7VLUJDAjXn+pp7eZ5mBDwTZPO7d5IXBhuPbMASD2ex5ycEkYbwpWnfgwrH9GYfOScH7i6rYo9cBbdK8Ybng5k697niOGhiYQzBkrOrF6Kg2OqkBei0T1IhPJg6wvHgrBocnxI4OoyCgvsgpBRhcWtqQgOIlItUO6Qa2DmDDSEB6FKRtgbcY1al5ZSsMTYZfvGsPvNOehjs3kBjyPmDM6sGtATGPx5CDB/osz74Zw9WgCHmsU1TJc4f6u9eVSl/Ixgg9/nsrbm+kLM47H+bCP52vIuCXIzrrA2DtmS/HfKMXGyZq3I/QJbgG6TtXI7NAKFlE8S0Q1Gwdl58jDQT/VbOM6hCBk3fKP1SCUP+5WYlkOD2TlILAjF6BJt+/BaBfcu8JEx2NLuJyfsDPuNuurfqOorNwPVcfHzRoqwrpfMcdEYus3uTcB79+qcZ3OH3VLFCLw3qE+cXNDUuez/XcWMbYAEnIiwqtvur1CXSLLPDurS5Oj77QgdEBy3ZziElpjXZss42TXnt/HmVPRkrTYvD1O/N1vUsa3R9OYu+jWLoxOte+bETBDqIksViSP8iK6/qLZ5OcLYUf7oafwOyOWNQwu+rHkEa7Jlyz0d7sCGpJggm2yefXklkdcyCbIVy1o/JGiPXeiyxOAit8SbfjrYXl1RdQSjoeNX1Xo+ygXDAA++utXv9Xjq9zdodSfqI35HG8PUGxJ4sAFw4grcCqAGBGn2X+GJbXSE1qOoR6cY79AGtERUB7h3fAZGZE2oeJfBLgfNhySBB5/Ouig0L6OnSY2xDrCrL0Y/cD4fXKoFjQ+xY3OYoisf7k/NtyqCIFwbB5putUS7lxwNjE/vMt+u19uam0ryGWLwE4KGL7caT2ayviX8hNjNahzq1sUeIINcjiSb4ELKLgdsq53DFfAgOCoNOxNyiA/LjzWG9U3HWAiHOkkv0TRVIjphGkjllAqIhoxWRJ+en7P1d6PTS7Yv0gKLdWTwRvnOLDHCKnOdTjApGobSQHsOXqvtV/8wCtKCEUOtvcGj0c1zoPzVGiKutSNN9nj8xciMhhPuWnyEfiP5HeYD+Sa8MRkicZai7RYjUUvW3knrfPBfRLgYHBBlYlLpEE7oZt4DmnO+jYqV1rV2b8Ze3s1wdNGNfW+N1KqFvBMji1EmJFK/rJZ/NlFxjc5P4zCvRYMdSKCOv8F0XVHLw426+H9l5uSNsH0rSHpCn4MoPDv2PoZhRf65C9iFSwhCARMZshJaK6rxaUFCj2x3qP/NOcNMVzl7seibISn2pcvNeB2aW301Nr97fL3/jqn86h6jF7gzBAI667auCQ2jOmwcXB9P37n1SNuga8LlSdef8OujGJqe4Svj1JEwlQpuY4+9DBkXDMYOYzwBwgHGeOc+PR843W3ssKYsfGqN3g0DW59NXMbzGCisvrM7WiWcUrDSK7JOop7vFXliIbRF/TqoOO4w5AV70tM9u/PmpCcYUXHvXcF2SBz9h62FHNiuIBNGzafzOr/MYaKzjj1bypY/J1cUAK+sSiKW8DehIeBU8UHKne9Bb8GsqtRafPgnuPRB6iQcT2p5DWKjiQA+xGTFrgUVsULQypnYCM7L6barNZVHxfhbGii0tAgC7RP62f3KX3MuGXcSI+Y7Qu63Nqq3Kqaa/TfhccjPLQ2YLRtN9tMz67m1iF7sbfO3NsV+0vyN6pygh4uYNvZp2luyiOjFnTOWJjFBgOCExvfaQjacmeR0dp5D4AveZvaXcVzCdSBJhbNXX0chZj59x8MFRlSZeBrSMxc2FCCgM0lodKk5zheVD0AJk5NQNrauVG+ZwfxTwFqD5xaEd+ZVjnxQeHx5YIrFwXdR3/MkAXPSrKgFfl72i4wcmo+g4JwaqdsRfFK1zWoZyZGqOmLASPJ6lHcFY7x9SFBJl9PWX4gOodTzgIBAJMxJdeUdAy+FVWtt/m3NK0iJYbXv/5GBk3okIZZFiHlFysEN9bJrTXnkmJ5a+u4zBkCwXFEdbktVTy+GMCJlPko20HYZlyRVXkQLDfG2xiEfTO3/0UvWHw+/Q/Ju64nSnICcvpc/kYO5ubQ8jrYfnpL4XZn6i+NhC5/8nvn7Kepy9nUyOEInChVE432BiLxD27iVGVogwhqvdiw6O8krfFUTTQEgKk70VrOxMkzC0QPh669WOWVtbkpD+w48fjCBPl5RyZ5xRUJqt6PyuWXFee6vc2FOs92gJZwF5Xu8Pewj+WDt4JYj4kdxVHadj7/kA0ef80L1Vkuh2GkulPuliTCM+gm4+5bVqtrsrelPTpVvo5X80/fHlZea6DY21t3wAdzwgc5xBk+9Jy2QRhpiDSZN6/yFk4MZJ2b1KWvb/QpA95zq7zdLiu9Up3vDghsd00ZJJE1WXED62CtnGVPa6ak4i2YgW1ngGldp8YrlEAkOVHuttfFSBQ424m94YvQVv46fhpDy18NV+Fc8STCUZKeIgzbg5wbvrY4cSWdgGyA5dVvAAH/47jxdrFPahazThQxfMLT8VQO4sIbiVngo+6D2u09dUGvvZhopDooooadJHRejQT21PZe41EGokDBb7rZg4aNlpIvLKGZuEDyYat0LZ0JsjL0jx/o2rSblOPoWv342vkTziyP6B1cxrjVpLBvhgE2Xz6rNavcNe/c2o3AZgaZToUw42zxk+3DatPpVOwWEXZbJMYKwyDVBzwscAMPJN4j1ggUYP4hcNwJ7Zbe3O0dXjGecq3sfBXv2qr3TimUiVVEzzcKemlbVHPpQABE6+og+DxYtti6+6IgHmELxiKTnvr9U5gptsdOyRTuqiRXA7AwSXBGdoq7Dn73crvAislmZuOiN1Wz1/0CnguQ6CDyhvm0ythRMXepWba/EKZVjDTpNCa+9QCDwmi28XNpH7YMY707F8cjzZNHBhD5ZDZWSdzRZ6G3WC0PZaWBONbQbWW4ndW4ZVk9MyYUY+ikm8L4FdApxUJQBwQalhiiO+pq9B+jySAvH1l6QUJVaiJtDc+ZUaWYetAxjgDFLRX4Qzjo2vG7ubk67cWnbPLIxQtVbFLGzGxmXrPvsDZIWeCNsZvXtnLasG+/MDYjKyj6xa4GpEX/sjHGS4uVbSE3GWyJPkUGgm11bDnJo9/ltuq3iVtDHhbNl3fF6XNmnDYO9lfx2UqToJJtt+igCm868Bx7L0lxaZYfPTGIcABD7U8efTJf8MsCX2ZNHO6EvmGEScj0C/w+UHY0IsKQIcI6VLMHG9MPreCiJj7toexyDPF7d90mKe1E7fvetOyIcdB1mjZ27B8GYY6NURYRzYrocf703kOhjZAVdOlLxWD1aa+O8OYlQfq+5+GgF1O06bVmhjVJH5tbW9QDP8aL6g6FXR6WmEGYQAszKc5EeFnObdz0D1Tzb7ds8SU4KFuq7TiF0XGjEfwgIo4AdsYmOgGxhBaa7R/mzTSDr2wcshfLSwomYgNdg5bJekjgiVUYu3JfXJAY4sQvwpnTQP1a+YMoYjInzsmSRLweyFH5OBJKIDVcZsTTg7IWPF1E3jhjn2h8/mSnv27oBLXgIZkTSYv5EkcQe7P7ihRJeBLmXGyGBdrMXFh21a+xAq3Qhv4c06pxdmHplJt3qwEoDQOOT7xb3bLjDyVDlWDe1VwmbF6slEG1qqQzdmYiHRA5EDSCgI9awCvBlSebVZt4HxrTvnL1CCR03G1YxvY1GxJLUy1ZdegW1063/3Iwu8XGqkQcmQAQozvzEZ/AAGI0dsd7SB52kocKAYHqJ4Cih6p1ky3t6CuCjHfAkchOjCsNCpSaDJq4dvrG4A9Qinbu4+lByWVB/aW7hiiPUHaOOcSjc37d4pcQx3lkNhn+yk944Qvpw162HxDTKljTA+1rELdbqSffcvYoafXOT3AOOaM2aZmmaUZXpAdQHfVkyzoBWIWgJY9eicwD9lNhPaX+XkA5GZhR9Pe9mszawr7tnfBZ/z2I4DH7+BMUU9s6za8bItKBf1wJVLWOexLIT5Ekq+RfWf2rIceDbz7UrlSzgycVvXOdeeVzc8iD4diMKvC5cdJC/cUvsVye6qY0FF9coh6g2WF36sqCzyknql5/K7XlIScxMVgsqPNS5UXx7j5FW0HRbgx5JvdDvLBNu8Lw+qvDfYu9i8+939NhFBSCHcIIspshWjiK8SOCYvXJYBCEOso/9DrEAke9yKxT08XlAIrMtMexEtD4gZTCIRYFhWnZaby73tYOIsjiURQtwpujK2OSXrtN57knNR0ApKIgIzKAY/nxD/KEq3zM+43/ubTerXHf5rbuQ03b4YqBnN/0jO8/kujJrSHA7G+w/ARaFzDAnWrg8srWJvW1ow2nBUMf67BV1QZpjai/u0b68kUfXhE/07hM4D1G8/V5jUrb3v9si8kLyYx4pxIcHA0C779kA9oYgmAQjz9S4uhHQpJOuNBpVaX6JmOoenGSqC/jL1F2cJ2uUq5NWboXAeqCf4P6FDPUFMBjizgFsS5a5dMBZqTJPBM7deIGeJ9mwWUFoRmugiOuCMEQKlUYkLJnh/+A/QeFJQZfRC/bu34e2yGcHKig1zo+iwHizO/qJHqFAU8tYV9Wzf+P2OW3CCvCIaACCDW7eRumwfdT07Qv3eIYC3Gzb+FFpx7ftaGMu8lSdcWQi4AmhXlmLrELogiJGTfPQYF7cfgv3VIOA4R/4j3R4sqUNYwZZCwK8l55USXuDmWyEEvM3WaJNhmH1oEugTuTOn6Mh2TL+timyqNXP5XmHkrfmyTX2S5xggIbA/CaZwIp87Tz+VjCx1LWv0Ky5JePMw7LObg8FSbwTKSKpY4tHi8eqQOOeid6ZvUbKgrkKcWYEykvI7ZlV/Vn7KipbdFPpoZwcYthcfCsA22KBP8D8taQ7jBnL/VcjoThMYDuNxNi0BC1dXMHqj0RbG53tyfXZQndGqhk+KMHAHhIbTNsSteRcy5PDVzagtcdnQgax0p0koSbGKbZ24rETsjenqjhS9Yk2NOsnMrkrOccaafSWBty7iXpPymFy4Or0osR+YuO8W/JyB/HC07vvCmzyee9hDKB9v5trjdKKJsiKP4qgKrbuoCsAXIYke+dLm9N9nzLTyf3+r37bEiDCoTCnPsWqU5SlhZR4cHBnJUbiw+5IxHg9jQyKQ8T2EtA8qUhoBmq3+0eIj638LbmBVKCgtEgYEkmzG6gxrc+DiqP70COANYGkhy9JuNxj6zQWEicWC3hbFMZBrJHT3R1Ta9Cvecryunj74xYW9qRsuJ6M2e/CF2oxxYi0Cp+y2uIuFE/SozLdTS3o5sSWfsl4hupMxsdabw+SgHUG/OwtaVeK3Shixvbfo90IV34vwWnFTM1qDQQwQJlNmw9zAVJRmcIgKkgCpOO0OhtG/0YMbmMIO47uzqvrctMgHSI3jcADAG5uFSzXbEVVghzdH3IV3A7Sz4e6ZTB3oyrZ9L2CyKeaxw954QuARvlifzvpB4CJq3bdpVf2wnLjvGqS9EJkW1h0Y4Kqdl74TBzxyg1A38SHY+Z7O+xjEkzmIez9BhUL7L3Uk8fFTdMBgoTUxfI8nNtVC4SmjwrT3h3dXGU7dVQR4+/0ubcMq3nh1y86WPI4BF3ASZP3yOMoJXjf44M6aAkLz5B8OVSgb9JYSCQbuPg0rh4ciI+m6TYSJFGYpennc3T67XHnfLSplBvAlO37cD0N85o4qn6/iXjZ0+3WPj8BidhEQje29OpKKl5Yt1cm2XxnOao15/cDfh0dQeZRKnV5fcOvcCO6YFHy51r7VxEjil1DOXNTclNINWtmNbx38U1TFqJEpUOG1QrSnSgzT5GvkqhN24mSJ7hyFHu6myyTTqPEWUFNiDgCs7jgQtOXpo7VZCJkalXdZtgrFO2abMt9xONfUNFEcQPn/KviXmf68dUGq3LCCZeF9UIWZn/HlBo6KySn6k1IcRFidaifboCUyT38lPCmrWwLRQmV2mwj+kTm6k310AGWcqwyJ5yHTlXFfRLKrKttcz6YgyvMLCzsW/1HEPxLXISTUPrj2CPVLhjIw3iNOsoLCWrTflTyT9qr5MTPR2j1mjsaWX53LsBly2ezpKxjAuM7dSblcBYGY+IimwlW3uOy5+eVz161l6IzRgTpFCxVXgC69SienZO4rHFrtPxv3Srv+wYjK+bgp/rlZ2zg9qZ1Z/kK5H2I4ASs29ONukuKGSzBUYKSKk4CnbdGqBrpCa8fN+44LeY/v9px1dNc65o01iXplyS0soa4tK7WAxdpDeNgJh7KEIlHsAUqf+UdsLSvoMKG2SWq+GbWFjLE7F/NZLTD/MK7bNEJtXhba3fsLW9h8L5yBDMWtGR6LSIyBN3rmHhYSJXlmUQ9Fml3BoyCq9bJWK60G+5QqWRw87Z0RdPFwy6GReaqTfC96J7AZ46bM/Yh0RyLbnUh/6vWVo01d0r9vQBZZJSTpoZQotf6wOOUBgspN1BioJlzUIdcfGz01LW5IlMBhnbz1y+90RoUxBpL8tljYgdRY6b3NjmwSy2TOHkI4veQQhJ2fnwQnU+r/RJroPwopQAPkyAeIE4RLouavNh6YBeAVHpnOss4X6byHszu+kyyTwlgRKENQnKmsaABFr/ymWtmT7KIyiC23GIwq/gG1yJYikWEOIsTsosuMRE08EaeDOWwZO5Xnhe3ZI9FvMaSZTEKQCimyu8ML3b57eT8Y/PKQSl4Fzpzs3QgW800scaSPrAGUmym7wOghhFlvuu6HogCJ0QzTmVX8Q87LQZEqWKICOvgFU5E+V6AFB+KjiINkuIFlkdbG4VqtieVbCbeZYX5ViWLmCMR8qaqPq6W4c7+MYdJ4QwvmoLY8L/f9LfglZLy0GJZUP+CeKv8uJXZ1f/NGG7FtV4BvwieYYxHCZ9IwvcDZZNsihV+b9742jCOpvNFMkYt493TgZilhPKji14CsyGEqcp0J2biHWTRwU1PX7sO+XFr2RLNE4Ho91wuC7DRHwGXNwXHQoJCjqkXdeaC67t2ugc0apehzQjNK5YSVRucO1Ab3BA6pilplf7EWCZu34laLsFU76HXr2ToPJLGJsdvcYotqJhSMLexfrXyvmcqso4XlOT1ryMvW/y3R+DVPawyjz7V6i1fvIUBNvmXfye8puqk3rzKT9WxwPpPRL2hqd3RWI6dvtFJB3VG1HoFQwDySUhd+rFFEomZHetyWILOzF5UKu76MlxaCPwyufREkOtwgQtLaxqZntk+IJrGdrMWizRgG0T6ZtO7MtsHH4mFG4N8nwnoFJkPsUlFTIA3FAJydvCbR+hwb8GkQH2+tL/WPSM0MCeYS+SQxNnsPsKbKvGWps0v+DGuag6mjdJGHl9yNKq9EbD1Hlr2oZD9jgTS1nXiit+mw/KRHGsqnD516JqVsJ5GxB7g0w5WEj+t8tnp/Xnax9E06EzV/l7YFAwbsnxpbiaFBnE9SdxEv0GTh6Chk80sQtlYZYaBfFtX8LMhZlIWWFknpxyLmwY28KJHnvPJPw2f5AFtiBvzQBQaefOe6B8hnLoHP/h+fCmghEOZWOz88eD7NfczFutDkYnp2RwYJ2jrqS3pFrruP3Fk0IQ9H6k2qUF/2gA57L+5XdlkM6Tq4QRDYGXhaz/sszmqH9V/MgBXlW9szdiV3AgvbYKVcYL/yuDomRwls6XqIuQY4XC6Gh5vMMN/Nxn1QbEYXZsJhaPp81rFAmwTUV+zZox7CbWQbgVQy9E8XDQf5CJdZY2r5BGHsgccd/36XRfnuBIvUsu7gxqHDv2iMZSJLKH9UlA9T9EZkIa8iSSgWUa7fY4P8sDkXD33NNMtvn4ORPN+RnGoFl4D9YfkNUnWZqE9L/7JPGZJn8NywfUi1dCPm6Ss0kjoUTUZYqlwy58MsZU5Gj46Vw4VmdLQ1WYVN6rvUNKgeBXFyhULBgeWMepoPKGdt+ea1cTtWee/5ZcxcuJEh1QUp21qKK83AO7rd9ck66NU8oem+KK7qYGfqsRBKG7hLCf+05aPEWIdToaRbKIHJuh2CVxEA6ykq8IQEofZbO7RMtXcMwowirSHnnrxhRUsuX5TE0X8Fr0al9gjKGaVM+qUOdXhRCBBc6k9bzTU/+FCzXBUODEABIbEE/GKufA2aK8DCNzPO5mg+v+UrEaQ/A/IX59apTX9+z8Lc6wlsWoKN+mdgOttVzGDjVfJD0OkPZrhF8APqp8n/nR7Ro0gCwy2u2zT6P0ipA968EeDFwh0grifP08dQDMlI1tSLPnY6jGr7RLbN1PaMam786rWFJhvTT1xHCcR8DkgsfltPMEq5jemgSi6250nDC42jSr+jyz4ZgoxBUo9UnIwDX2DczRxSNxTtV2QoM6TVhkfBW0UK/+xCuQ1DCBS2jsdfvgOpd31/b8irJUKc5KnLhqLhVGt/NYKLonyTO1onh4Jphs+vT0zu/Ud36OiDNZMUu4SGlB9SRo/XrRVnpq36g9BGgsZ2Oe+8tvd98GoX8m5FKnMMiDBNdq2jHWSoc7y9K5oBJWaJ8NXDEZH+UvwcfD9heWcmsWuaF/Ne8tUD3R7BdfURU/xX+jTUbbK4PO9BbOF2jlDCVBqo7hfXvm3YBFCDx2ahd/Jno9MrqOGMPvUX8ZX4WxcoLffpmLchyxAdK67+ORAjzKjx5gIQnTaPdn74FZz1V6puyiKiZ9IzGO7DF8Fs7AWxTlsC+C4lZ2i7jBWFYj8gvQOatETc0od/gyeWgv1GU1VkPGkVFc2fRNTbAYRle3eY7fBnqjRcrTR6HULrPB5cceIbscyBpmE/8RvyuJELXJRp44/Gn+/6Rxw54i07/miHkC/E+nz9SBijirXi6Dq2Gpl3qB+PklxFBSL57jcveGiY5bDZJ2gFgSGf2JAQrQR4IOuz3uvGcC11s/gzzbloixUE4Nb6AK00Mu3pomy7LgigxJF/GZ/OKjENCHMXNIO8GpYz195+LCuQLECwFttMGEzBJxmRZSkEr1dD4dOtEMpmxKHDwx/UN4Z8Kr9KQhN1sfCdpkrX+QwFu9BdU3/2Cu57etBAVi3qwlgqa888YnvGfxFg7Mfuj1SXyzTlm1gw/7+uixCpVJAdimj8aycJBfTwZwgv61HxEI1cmB/eVdeV5Ab2LRx4tr8unn0XgtyHqmsP/ZZroMZ2siVKko1rNp3hdW+uaFkZRpTzVG6OY3KEFvrgBW3TAUBodOfJHH2HWGTpayOFURttGgulE7Zq7aUYlFIjp43B+clQUwOHmbTLEF+ZMf+RB5CF82xJFnP5rRGwskXpsna0LX+CUCzjbAxlSFkgfr4CYmQvGmeRwS3PDNGEGoiQ2MvLIZYXBeSrZ0RWMvtP9xu1I2rw48puKvW0KV3pq80fvrPFtJL4vbY4PtZCVphK2I4Pd17L1YDEzH488uBO0ELOLDHX1YOGDrB+gzY+/Bd2eAU4HrZxT6DHe9GJ2xKIPY/hmFaKOXSw5HhCW1tRE2ir7Giel66K4+0McwTH+J6x3wzAWmlPZw+v9tUNA8JHez9VSxo9OzDvLgEVJ14+bvesEi0wILhRiLaKcws5snxigehv35UFthh8EppUapKES57WX2nmxd80sPh8yMX+xiagACROHp1aetxViqndlPbfzB1AmXuTTMv9TirtN0yLukUGS5OPTtgJx151gNJSODrmyXM6+wd/W0PkdzNr1KO/do1PWHLeJsui36nNVuKmAgPG/aDjfbjdvQI/lZlaNPyGNHmsgOpTKD7SEJ/ePOCM5epQpPP/t/feDtIDouHsJiPP0UhviaKQTbg2Lt3BAjfFN+WeLE7W9ptsFRb5qtkeHBJbfWCqhTaWOAOOO+qnD8pBdcBOCzxExUmpMty6Lr9X2RwNnT4YnXspZ0CJx1tYEi4xc23/xrWH83Kixr8Sc0tsfiXz57NRZC6JrCjnTLLXuO1ue8OsGsuGkIYblSerNzY3OUvK9fLdCiq5BzqmjV/pQ5Gvbg0OK00L+errsrJKClvI1+wHDMW65eUhP3VrFhlB/qEyKDdMdNrX5MCUXMKV1XXVctBJTXrGuUx4LQZIq5Cg5yuyBMzKikNf70Bi7lAPZeysoRxJkMHLRvqPMCNzE/qMzhWf5ay+1oh0Ko8d+ApjEiIOQGx8UieW4M/k5qyaQMZ3joaU/UtwVfYHV4tLJb6Wy8NSkzjzFaEI2V4pMAkPcbscEyQ9XCFGMGz+eWXN0rY7Oa8ZgtOR6A9syVLa1zvCmAChgcT0e8RD+onou8GXA1xHsjt+KesFl9+ZFShpxTnZB+XI9WJBPZHTMkWJrjYKAy2jSCkm50Nqgynh9wPS5yonSTxBI555LbWKKo66ZW1zrN0r10oanl5RA8RsTG6/yxXSTRkTpj9UtsKRaMhLinKEy/GOs6mQGYSE+EM+vzH8kfbpDdxv+o6f0fLuQHchqgGP9/gStCVmwHS6XMzsDRg4xEpGslBj/SBZ+ZgX0jXfm/dt2vpn32LCUZF5dz0r6YR0gKiECxz6m0kEmxr3e9A5KjcVfTOCZ6jCfN76H4v3YuTQ+/z1mFIhfdq6Jv9ZWa2BcfrGzztqigchABb/a8pczWlwOha4JJQlTH0BKZQA3StJ9vGigQNhzdpKHgNEk2+1cczW8ZPwYzBqeGXDJOapT8MiTsIfRvCuMNnnANW3Vn5eTTFmG2ApEbdHfxznIheBqfiHoMlmm4g2C+rEOk0Fc3zKaOGEfokk5x7ZI3hCCfhDRdDSBRtag8lOv9n/S/F9XfiZIeps5yg3qxHd3RvIEiSiz8LucIvNu0yArsCNlZ772Ytr+CgfhUZOuSsrBaUZusiFJwc7RhdgqMn1zOMq3Ir/WnmEt4B2TpXFfb52qgCVqeS4rbxBUtA6QNTz/6HfOzXNTFrgcm5wqpOtS68YWgOyLZN4CBv4h7lTL21RIlVLx5ulBKd8BbbHLnVPxkrNM6A5fFhND6FX2Vb6QmJimRlk1Ih5z64RnzsN/J2dF5PyTXSPHWlC9U71+EhZgBbMBJByArhFmHfY7GPpSnjgznBQd/ZYDv+pCtob8MQEJZQGmtEzi2uNgkDVr+l+V4O28nWtDgb79vthkNdLWHeE9G5i6AgzO2IBWdPm4RlrjtJ6yPYlW6pVOWW83om8kq/s+EdaMofxNYBVWkybxCOwr3AaIrcLM8KbJtXJ1qvkh5SGWshQrREbYqJTs+9LQN48hC1N8CdKoXFoySDSqOTdbUBn4Fc78QO9oMe1oaJSXN0uAKzVktms4KAfM6eTk3f5gRoGhymIjI30jZaFuyOmFQEKa6vJTA35Oh4jYmKNP5664ZNbdrc4C7l8XHKU9zR+gF04Z8LMAGdphwPUwijotRvV7NJoQPXNIKMT4hLlSCQ0TWnGGkY8oZCJ2LeUGAzmOPoEQzqk+nV4ipPthGI/3ze7ZHNy62H5LRab/yjltTNPgpa1j+vD9FZ224b31c4WOlq+1fy3mxl3RgIDR1StRD69GPapJtvEeSRb3L2jjyQxRbRydgBXbOp4svC2LnLVlhLRd0jbvcZaiWKcZS+vdN7M4cmUJq0XI6UQxxzkyg4qGF4MTRgQsF3mctrZhECQXnXhBt4Sd+6fkzkRIWasZrqA1XfNxTunDBKQSwUcHR9S5Y06I6npTS1NydGVp3lB90ppF/ccNtIc0OvMimuU0dMBqkUJP7Mgnb0+EuVRxd+NgZZVVL5jBXre6qnqsGciNadPJy5K8LhJY9sFvCVfkI3QWojDHxEtt99ephPCFnNzgVGJiRuduthqx+duWS7iUp2kFVaCj8zfEnYyXw98vikwsQrj9L/QhzJD7+FzLbHbvRpYFN2E3aE5qZbNN+V9UaqbYbkZzCWtkrApdT+NdWaLs/r2BO7zfCNU7134OehWMP9HrnhfiMdXI8bWB5R+VIJv5CIilPtF0XC51aUoFXgJcqioPT8upvXcQ0dE6B0u4W1cChcWiCLcVTTFVQdV8Rp+GLy61+UihmcblUq5r9U81mXaAhGSTp0HuaiRPmPfEFCFSq6drtP0a8wEweMRgNE+FNWH8271c/MeVpI2QQHMMTUCwJ39gq2P8dN8zGGgE7AjPCwVesD+QZPScyFkVJL0DltfMfk2h4ISVHOoHwNPi+KyU2SBxTT7imC4Xci/N1sfFqvF89l2SEPJ9w+pA3cO3+Z5jwAlde6gFIfAVSNviLijoDs7cuuCtW1AJGgvhr3TDvimSVlgEdL8aiwhINtvkVfoaMcbrqLDnGe7pny6Ua8b5JlsO11z8rQ2GBjAtGkPEJtiPOM24IuC3tIWYHmYoPLTnPTb2tDcWY4TQ15rghxAWGTV70UoxT9iFMqTy5uTN/D4H0RlgAFo1kh0tAl96MYwUvfhhxHx8xqOEy9+vhBKe4hRL3N9H+pNzShqGBymQ49Pbo/bDrvvX7ze6DqPioRmw9POPyvLMkPWu5MyCWbyst+MdXVrxXjUlBiJvnQqslWzQ3a3C7JsT6rM588uNZ2blDrF6HLCiILtE8J83lUHi67Z4hPNT/M3uceG+FmX4KV8pjde4W7deoxxS1HOgbUEuk+tw7HOUxX1JDtVfXJ1Pv0YS6EcKopOrLznFKagCo3OENd7TMw/1FvktoiIxCX0TQrqBNHywIXKdTO7TYmvnj+ML03FNY4FVEzo41XCw+XwnqACEAs0WV7XbxA0wFSdIcwta3p40R30uo+xCH3VD6KnEbjpHgoSRBUVNIxt7drGV7uJOADnW/jBiwyoznypEsFMBad9A1hb/pbawoOV2ptDCCJkNzYZnSfDbNrd2E5nhVr900OiAi+OnJ7PGkcDvGewb/FgTB5siqacIJZdeepjVCjKmZWATb6lOYZMT5Ryx/b1j1+BOJxv0TRkUNxWk2fc+ifEMij/T3au+S11DweygPRLGdmbFEni4rBX++ctV5PRyGeG8z3XUfNdoD91OHJioVK45Q59uPVbJh7Bj3Avueg9rWaeL/9LEAJ8BbJchREmuJ7LwLnSnyWSXC4ZmouK/zCsIYwSF4//TTzxMJwMpSRu13kibq0j38qY42FIdLnEneEh7JUC0/JZq+0SVedb1MF2eqLvlfBDr5sxf49KE9zPQfSAanklmEKg9T2QnBTt88YhF2EwgIkJD5tS9XEswZnHdr1+JEgdllfqh9v1u+KoSxcgmqFnRcrkQPKvWMbo0DvdtKnAtWFXM0lG/o2IbxV5LA+YPEr6FM9xG4udPsi2ClEKmENCbAzph6mMtI2kq+RfedtcFwWnnAcfcIxHIBvwLLk4ahmSC/DtxZc7z5tULaasd71bBu7j5M+dwj7fwQ0Ea0g/pPv/e+IdXjroPwN+tDy2B0Q2tIa7k4npScbfssjQrv38LjdF3rJTIKwQVnXyZ0aAQ1s88J/SIQkQvIjpzSSU4l5nD1yotK1pvU4HvXlTt9imC2WBl5GJP2SPBk8wKD6CYA1JdD0tqDUxVFZDb15hEs3/cXwZoSnyRhAWFByvsbqgmmu+hUVBA6qUskv4DvZctyXNoTtzZLSG5ShVSPqMeJ/KtyzqZNUgppmOoWpGr3hKI9vM+/f5UP2IbqQp62mre43o8hWoxhA5jiPlptEtqZRvvUfx2UwK5ux/a8Kyuq8SoSaGIWGwX/crzmxG0J17mCD5DpmNkVtsT917TKFzpMwg7rybjYzgKtzoN4tp36J1x6j7LFYVIZ2mC2dm77rtZfEgT44gemKE4InE05QHMuRkFkT1OAYS3G1v0PcBAGP7KA3QlPIXRnqMtIlTVwfGkzn261WTMCvduxP4hTuuZFrV4Tcy0yJ0xMuo/1qUnicuFF74gPsfGUOzd+Geq3G3vvLxyC+tlyXJLYdTuMkoc6RHkylaToao//DSuydEOlQCGrdwNRGzH6pMkJDud6oQMRMvw6QeCebRuD4sKHKfUxLSiQ/XPe7Ki9pKlzEXKM/ZVN2jW6k5WuOOoB7tCj3Axi74rvnWc0K+ZPaQYO0q1zhpO8YZXa5AuJ4GPWuTVLG6NQ3k/kNfnrkr6CCdB69e6yrCYoLo+BEGmKr4e6SsYk/Pe1U/xczvSuOvChj7MQmXmU+mRi55npLtruuCyZ4sqPFojZcvMJpzqaWzv+Z9jKg2evrB3bBHmrCwi6sGp3Q/vwLCGRyKIY+gxb24xdOSgHbazLj1qSQmMYJmOrgroA8dHzRdJ0fLatEhYr4wgnXzKJnJWS7DP5ILmUSOJSZXndWrusnDPbZcbIJRapghfqfaXv/hA/M8QMUS4/D45+YW9qkujKHQf0zfu55hTm2z3mEFvsZ5sLwQG/SfJ4dkCJmPQy/WdHX1RMiIgcKSv0sMbbDPn5lUL4Y9DKImuS36CzChsv4b8kwgWb8W/eBSzcHcIwCAf6R89AmZ8zIiH4UeBuylwZD+D1myrZ9OIDuQQnp0bffw3AzMVMBZJYofnS8CW7RkgMx1zQZxex7tsipDjoJ9WNzroa2Po/vV+Qt1G1pWcZybOGLi+8vTSny8is906LrTdFUF3fsmw7eY0kl9OFKQwUcnv6HwbhOU5KS7pdqwTPSi/o7SAd29jfEEJBjWFGBxJNLXk9eF5oQYkP71coopDKaef4qGU6oM88v3HlyrIeVlno50K+V88ds+/hD9z7G2P4/FhWrAGwnUh1QpW8tq8+vIgy6GQ6rNObnxDXJ7LvCUXyUBCfH22Pe1j3wg5RiFmaqOQ+sjhjvUX3ZPS2yb1zZUscgeMm+jM4AhaYk5ecwwuTJxR5weFrVLS8kYXfLK2UPUB3vsYa39LvD1+P3sC9GjzJObeM2njqUxTWJcoHXPl0hxMG1dy1pTlADU41peKvyPlEiLVyPR7SW9Rv338vlF7n50N84lhOpJeah+i/aZZ/ErPtcpyKWdJTm66rW/m2dUIjJAf7f+fReCR+jWZBmQfVWwdKPKzN2EBLRR9CxGkWIx0dBMkftXgQThORzd1VTJhkKC+JCUrMW2aYoFqQXM/vPB63Uu/wSKrh2E+m4PEBjhrGJ/mdVCLcNu5eoO7FZ3eFjiXUOu5jr3Rq4RADYiuLp87u53HMLSSF3S+pDA99AS2DQVasn7xprBDIm6bnUE13dSyVGuaQ8kvNtOeTaMhWOZWri4v2nrc+e4omMk4ToLn3ttMUSyoXrP0UuVMwAiq7pC3lzE5A67mBEji53dVUJX0KPuoPbxyAyePREPuyFbGxeSTSDWExXzO3z6ZxdFmQK8I/6E3j6d2nMS1BMZNO4lwsE41/w+H5wiBvzivJ4rJmjiCB9F+9avGLW9zFNOyfYs6ND5cm4acRV8u+d9EhvSJR+ymkGbu1rbEhsHeB1iQYVDxMWQj+8TEIdy9UI/Vv2jNh7F4drxkZE4T0Ay/WVDMLt6haH9zufBaMiiONmNDJ7kOsM/Vi/MKHe+bAIFQITgZKKxTXT6nReYgA5axE+O/gjRU9DDhFNgIVzI/Wb1TejZIQUQEEKs91kzkpdRjgmUyolA9+mmMqSySh9xQ8Y0ldOLfeRnmTwjwHOsC36u0ZhH3H9NOQWK87Z90yBkicdPO6/4XxWsqUOHO29IkfxQKMo1aPqwY3Uo1Im+VuRxDdN+9r/FY8DHTq0jXC36ZeJad4Dga+71OHLUnF4CamKf059HHP0pjXR7zfzWgFFTIbQv7UTN22liPReeLic/lHDdk0spOOBJ0MsQnSKM2jbhXcASvy+i1huq5f/+KIQx7yb4LH5YOioV/pG6kosf+GPXy4npXgh6oIvpCRFdFoQ79pTuguPxDAKDi5yI9kbPVEArxfrV/qOA1WyTUYU03kmHWgmwCJAQx/SWdVd++G4M6IjyGNogq+oYoUWrJ7HERVHSU40WF2gluikOSnK1KoL3dn2ATVF+Nfhekm7oXNgkIuw6aX1JZosjSHSl6VPPikUVALHTjuwTS9lgwOSqb8W6sL5tI51Vzen8WzszBbN/aqqgDN6TPKyf4KL0lvymWuMDrd7nEP99WkLcD1FS1NWlBzMoH/lMlDDfdvmb+DDYXG49oQQpNPFm2AYCrHqKCRlQKYZw77GpFMrAMkMaq9nCZ3vMBuNE2XxTjdPnB8dzvVeBqLUEtk91/Xvd2n56RIc+DBfCg+9GSTFK+BHmHYQJSgTY1si+baOnF4xMs2eHTJc0Z8jGdOzJpkJ0Kcpzu7kWi+jYobIg48/D3/yrJL62ASRh62LFyl1cYkRLvoI+5M0kC8/FRod045VxkSd2H1j7utljcoey8JFXb/BzxagJ66Z3LrIukCCezWWdilcAZQGwVxJ/F5/6Sxx6/zxk/i/i7jydMQ0wvdUzw6sd6hOP7KUS2GuxFfMwc3lXzvA9ifSY4Mbd2horyZ9GRn27y4fco/vZ5V6RnbQLN1mjXK4I+65aNghIYwu8oFY4Cl8P+BxXdVuegGKsDVyEf/J9QbYLR9gMHihMOb1X0Wt/814fDystMED6uVeBWwqswWQCLDEjUpbzDh0MJQXpScWy8QjuMlSlgU+0HgWgYW+KNQsU0nLf8G0W38ypG/pGORSM7cIsWqbxcL2Myy8yosG+6GDwaMvEg3oWh59lz5FBBm/wURCzjtJPOdgJSyTCWzZNfuGiqI86yRAGV4FRvePECTWahMe5ildAoZ5Mn1BcVSM930dklQKl4J5eqTLZ/HibH5G7IjpMcfJkWCFkEUJRUkmm0t2gBvc6Ufz8+rB0xZICwikx3PlCF2xexb8zm/s6YVXDtksPrBVzA+yDOiGlk6Tmq3ptWIXeQlOCkSug2AqZ42ORkb73Ksz1FA98cSm6n54kbzAjnedNKMhpldH6Y2dn3LnWvBQC8OO3dkYnZ0lm6JK8jBKXo4nGoZ0JpQZ/8AFiSMBX0yuzE4sSowvBc0pvpg8KzeFP2J8m/7+D1X73JqX0wHWS4ognJ1RP/HMGJ8yBSgev64R9O/dxkaRXwFEyzKi2W0qoFKdzRK8MhZfd9cIYcAoErCLmrpn9cu4Zy94gJR/fHeyj6QS7OPumjMxHcN4yMxX7aCqdErjQVJnzyEhFHZrn9/OLFhHIxnNuTukxVYKXA227HCleZPuBAhjPUr83hWXg+bWUhYDzQvcbl46NYBdG5QRBoHlcxSj0Im8ym0uQlVB/nXJ4SRVP2A8lg/PdZagdRYWC7uvVo3UEtfeA4BPaIhQpzTkyVR+H0wcZsJgMzTiKOWEG/EsJMuqpqgP1zGkMOGhsHIhGcY0ZzoTeRRf6PGXBaC1m8qziZG1JL+eRt6YFlR5C/59OsLl5Qpel2YZd0ZB3rw3X9aWcPQuelzxWbMB758WC5C5+e6C+3ei+BOUjwkHWSjlVM5nNYHZXI+xGvC8moGtqM60FQTDf0gqaBWH+A/mghE0QINObiWRVA66pdPhoSEMTO4G1ZnjYGsEZh2eOGd2vlRRKUa0fciYGrATTw0yyG0zM5wn70l5XR57fwnWmIAyWd2XpBBrlzSoKydSSo1QNK/lmiUYiVxonjpCdYEGL57vgNnrBet9tcQTb0veraxVuFAZLsybGEJzqCmF8v88SojQ5wyoyMLCqRxLFbmhqKF/Bw8ELb7v+OFGMoIoBBS2Ck31h5OoATpgJdZ84QuE415rvvmhpYrN+Zgr7Ge+cqij1/R5Bvq4WJdAZX1OEz0ksj4+kWDFTiKpdysZnGQ0qRU9CzELJuDyJ59rWvcOpMfJQM7B3RcbqdBo5tnctBRmlfB6iBtUco02apMUWPZ0Y8LIGPpQ7KTR03G0G8Mi10cYCBO/0MgfKzTVg3+CM+9iMBpzzl2SiVkGLWUCi8pmkElVpX/TR+A3xoIE3auQq7C50ACaXvUA976RjWxY+m1kY4YCkDXbRYr3R5QfDWgoQjO1hInxMFNEQqvdGS94dLPml4QTe2YuvJr25QlQX+9FTVWM7qQGNjTJm1zVkSFY8fT0PhtvU8T5R5uUVTjhp8PkJQFKBN908xcq12m/+UtF7ai21BmNsoFHm0iE7AgCgtzOe9/ylyGYZtdW97UliWvUsNtqdrUiLnN+hyXGLgzDIubv7409LaJTv1q3Uc2c94c/93YBKvoQxoVTA1kr3phHCotavl5/K/tI+SDu+Rrth8tqRAmmzPLa/bn/FRfd1kPIRTs1Xag45/bzsRpkCc5jJ8P6lK0i0xqYuWTOVnQqfCFnKroC3tJ8oqd2IsCS2OK21ReO019/wC7Fm7utrz/kdAuNg3rBOn2M1WTd3RhjbKJ5+L41IgItMxXNATabqqX4SgYnOdAB4+dUCf97ibCB9UTfelr0NPXrFLWxGjBpoOXkD2AYfk7VP90vE86FaTXu9bwF5Z+R5rUb9kRhIXk5U6Yt2D/kqllbyityyVZwkZYt4rFcj6O9zNvxNHKzGtClRRgVmtkjABEAoxgSb6BqqCTvxzHKHV/tZFwRhpKRof7ZtY3dwzuR/DGl463vCkyMM1448WnLumEpDamgtFvDd1OKqp9Yq9900srnWnJigZCxa5s4tw0ku1TbuTOk7yIAbjcWrGZo1ZEE4Xg1WZO8ISBzeufoMzbC6lPlKBAdhZydlx0ISDemVc3N0FrBHwlHo67sRGeGRTbWVh1s9C6/oeHDrDX1fmp2a2sTHoFji6kPPP8yQcuQaP3VTlbwj6jeP2KDsmbz2JQizaahcTXUOWx2DgOaes91zvw1PS7IkrDY0Lyeg+Rc/pouHbllDIo7RAK/zUq174wNR0iX5La1JRfhcAWKNp/bI1cowQF1fzQlYdC6VFKlBGVJGIHIxe8GLANNylpD//YZMLhnfnNtf+4G5dEVxASNcCT39aWjeKBUrQd83//HT9nz6dcBEN9yOiG9h8oYyVnQd/2Q/YXHbmRA0eJ0aXgIhNyIfWrh2eKifSugpnatDXYS5GWtaelNNOTtpfiy68FSZAzZx2Whu7R6QSH3IfEw0D6OQ15x26dn0xOvEGNDc6SQFBhJXXxRiiuLWevcwcuD9ufbralV6jGEQPCPhtzCxn+45MKaKaqL/MNaXsfWlB4/keI97O0cRugjt6CJPkdPWOXgY4hxAbMjpnHpkb8uLhkdhF6bYtssM63U75fSqmyb/G6h8oMVVDOS+60EIESIwgvtq29T6Rf2Avxyak5HsNFH2m7x6saKGemJA9hdGTP2q7e5YlWYf2BN6gmcHxd69nN0/Xdo1JHLUX+9rK/3kcPkVr/kj0oTwdffsWrhHgj51D8zROkCCyaSA7CK+4Yr76TMDiVLctzHD+NfFNQ0Aq8K3yQpH16bZVmaD4krmtOC6EQIASi+YZeKwa4Lk5Erfa9O71hSlukReqMmSbiT2U03MA5WZd/R5kbFkHQRjOk2pqZ77jLqKoal4tjVYSpKOaGVwNiFQRFGhU7n8FaMpj9X9z421QY5H6bvVaEaAhZ76vRtb/RRoZmZpPam8kjeTTxYCrSd+Hzel0bwp+g9egHJebmnaXS8MU1Q69fgrPdDfTAllDbpmzVrHVOnFBVhtlj3xjiHqvZl+dVOSLXGuw5c/XPiGLkNzpgA0LiGEjxLfWI9GXajzTPk8dfLiJZYgr5JyNky58Cc9EtbTsgoMhqfYMNeqEiRViTzP1BzvS820pNq3o7iJSpBM5KlNZ6sdApbmhUdpMCJh1pAPqb65fY42mwpArwpCoyAxdlsZifGa23exhwiPHvyICzAmzkzc5dNcBG/2zm8X/kE2rpFuq29xL1fWDChHiGlmoqDewanvPdEABJ1dTa5foythV/bXouj7/V4n86IQ9RbUCF5tjDODQJnHG+7n/0xWYIf2U78x5yPAHxPcXiWNgbJ0RfJF2+tuTWEE7Y3FVmvtfo6DPLGiC6D5U91YYGX/AKVmEiLs+x4u52aj2FUiX8rGZs1LD7zm8jh0L0sYaputP4riaTdu+uI5Yh8dnm0z4J9olZWKm78pvZbI0IIuW16sVXYU7RIoYNUvn9BCBkkAV47pa1BtrrkrlSxkFLo6lbN9nldr0qhrwBnPhJPgKrSJXQfrbD2wrkgQGez/vD5znkXXl6a3PtI7R7jEYAJdiINpH16fxXAdu7DeLZ5u45Z752flC+0+TuE6ZFLQVeZ+B1BfWrvBS1qyJU17Hf97cOzUE7hXvtVWsXn6JjSUu4BmkqZyRRhE4cBT5XpS16TlMcErpMLjf8ie6LiZ4Xm63XOYTxxGTkzIRb4OpRDZC0Q5j3fsDf2Ht1pNAzLncNnoyYBP6LBdUP9pyVD+8XjonPtsXkOxwl3DDNyAeTLiZUdmuo1i9g6/2W5phGwRNJmyInasMPSPBVvjv4JkjandAWu/dDrGkUnzm30Jtvwdr0/Z1+4wtPpV6SKKwRj4+VP7gomk9Ctcfs8NGUZ9ZgBcsBFq7iVQ7gfghMOextwoZikVJKPrcDOSuXlYMju/fDfOuVjBHdSh36Lr5UJSvcpJ0h4bb6T8vZswCj4sgQ1Uhy21pP3fXN3B1mCR8/DK1ZT4oLv8NZ61P/dbLw5f4R7uNN4jZTAIMYVnzxyTJ16RQvJetvKHmwnpMmfxWTkKxeF6mJ1Eo0vjM4Tenj4evNoVZQDzCpsX1oH8OEZYY7Aw8buQTH34kkYATDsVf+sxgxYJ/UXwY36CoEoeh1daf/cCRWK9WlNpYiIpZuoi4USUvIBU39GqMPDSct0nbyT2M/4MPsUDLuO6YSz3hz6GPbSMczcpUM67cCR3l5tWAZ1PgYQWo989uGYvy5ygcIjl1/ZHD/et6I2SST8drZTnCdfdGqi2GVC2Rb5KGSV1621XUaCyxvkEEZNgrN97/HXSyBkGWR+kX88pg7YAuf4tuZQ9MsqkHkq6V3Jw3NtFa9cxOSaAD5z48DCNNH0ggUlCMAvf4HM91UQPCvJB1G1IRIPZQe+4viL9/iu4eMmsEw+cYtkrVSquQsT28HX8qh3UJ73w+lUkldOL5R6dW+HAbjsuk+dx1Oz2L1W7TnX2TSq5SR4pcKGOL4R8jqNnoES6LGSafSVxSt+W5dSG5sxN7hReE1/aT3OJ0mBofYp4B9Xa9PmwVY51eFSr4iWrzMqwah4gXwpvo78j399tehlfQcaBIN4Nd3TX9Okn3GsUdA9w5BN0naoKrHpFhJRpvWc3DJNDrt6VNAEpJF+kzxTcVKuLGB2gn2flsxLq6nZYv4aWfknEk33N8JkSE7FGZMFQRVg7Psjxhxu+91m+JXM0dsjI6ol4CYuFgSIHBF6oBDl4xfa/lZCehbAJbWz03/VWgCeLfzeXxSe6Fv3n5InDmsSMCVIDfHe9A2XBV304nSHTMOAU3unB6fSx5fkAWWqT5I6GN91oe8DVkeXn50NbNI3iwDzR1L6pJk9ZNrJy0KIckkJe9ISEseatFai8NHI+vgkJOahgkk2aXRnJiKlGfnE51gPZLVRI8WQ7kUB62LfcabJa9Qt+74pBTJJedMQptC2KEvHugJ5AdQ/GigWf0oqI2BGtqh99Q58beHO3jZ4KnkHdSYm1CrpP1Qefrt9Dtr/HUr2Dc3rKAYgjyuGd4GI7UJsYnBeM3fYxOEFF0SLLaKTSzL+pK34BwWLt6796HC4VKEuV5CjJA51ehjNQB9y4NgVGplH88RwiD6kbK5eISldNeDV1ZrO8j/TLfG77G+NgSAjWxKGh+C+By7WGYxSXruGasTRgk4boidJb1ZRoiKNDhpPwCBqpLhWvvHb3G9Rk01/X1K1ePx7RG7yl4/XfvIx+MAaZgsmy99/lXfmBuyY2+DPLmB/cIsXbVxUC8CmIy2etK4Aall+gyrus/+bag+jfaLVPaZYpCRWYz4JkCd9Irg9rCtvmxryMHbTXboWVUuWxFR53RYi0Lr2WJDtw9it2QsEtSqwcIURoBHXTFXhBaPRB6P9bD7ONOIEhvhfaDgGK0WcbHsp6H/NDmzouesCji5CLB5TgHcnfxAJ+ijXbf4bQvlHSBWZEnqYuMRVvmAarAloUTBAagwgaokkFD2LWutsxDUyqEhhCGqlyqr+0cSkB1h/nyQKx5plyme2ucCztGZboT+FeDMTXH9ul7ftl6Ik/lbN4bDPCh6SH/w+LT0+2Je+kDhozXvLypyQPcHwHsyqh7RsKEFjzg7yp3o9nYLSu1pm6oIzlXC7Y7wa3E6bKNhAXoRu3Gtl6656WqyhhXRbr+83cIwlTVBy/eA/lC7z8JwoVOe7nzLq8+SNI0D+Jcd58Eg2TtDUaFnCr/ZpwJMNRrXAHFef+tTUJnLOk/16qY5cX9/3kA8Qkvp7wYjaTrjHM7Li2iaNakK46uXXVZ54opN3eGoNswKwOOrG1pAV1/vZxIiHiqY66DJ54TqPhan4e0w1A0iTw5FqPpkGkl9pn3alaCv2im1Abj0v2EKZSEswWAefakJV0m5SxK3uGPgOChPKbMO26wAIWy4EOTKKTCef8eeW66IqrMm1XQnWcfxp3dT+kM1jw2yaiWNiqkd8kVQhG0w5JAF6T/j58q/IW+DhWIa1MqGolZ5paQW2gR0/4qLtcsDt+OZU7f9iYRgg1oydCNT0uvMTctV+1q6b1pvCpSv0Tu4Wa86mvFnuHdMa5DerNeRZIUc9jVz0mmRk9713+RpBBiFG++m8UndKisvwNbNsmKbtQPu8vdRT6zXIqdlwYiEfyOwuQiFQHKFMU9yrIQxsrN8ANJdGNRBEIiBQGKcsxtEfWhQDhxLwBZ/k9LXh03svY8PPta9J234GtVnMta8nn2gTAx1rnchx/pL2exaNRxgCR/349/phwxKIRMlwwOkTKNy39sNWRffoQvkXwy7LFcYSnJ4Wk9PGOBhSK4Brhkchh0UcYwjMSHU7bX5Wa8PXsQJU1GJZ//MufJt3Ji5Sbw4tr0Jtx7ufnNsWhfrar0hNilxmSuj0AL29PJU/GNLd9ettK0U8gD06nQ1iflMd/kg3z00Z9lln2aoTCkzP+I9YgeFMdpiBplAMh7Kh3zGdkaxajYeOdpV3g+F51rjmUWcX0/gsVVLpXeEzKrBoAbt5y0xqCBYoPtPfL1rsG2dr5JNh2ifwLk+iOFJ/Bec9XmypNRs32ZfITMYTnyeCJPLsbvoQbn1YF5ZIt6S65csvQdDT7OiDw48HOlNuz1CNL2Av2xqyJh2mHqueAVzZqDj4qZu3MgWMNRYSmvgHJ5mmkglt4P8xn3gaU+V67++pYjr0m9zG8pvDXBzAH25NXnUHVc2mojIfoFdzAnWF75bbOYnlorKBI8h7CqQtXIFqPOiXyPV1IcU+4PDnas+VQDSkrw74yIsmX0l2FMTHrBD6XfAn/qbl8ONd3/AW4DtCTgzMBhhjjCbKRwWGN9Kkq27Z9cviP6Ck051oDNb6wVIlAv0x7KaM2TCvRqfncmXI6qoGxrpHjfF389H2Dmc1ZnsjxHrmb6vi0G1/NrhUt5a978g1NtSwNgtGT0db3auMHPTjSR8Z0EUCHMQcJ9QgUoCsHFX8rpffTD7zWUZMdFs2YXjOY03RPBVsX4mXv6lSBhsh3KxC8XdOw4/5I3BBngHUDrvqDSV2wT3Oez6Swf2j+PEmR22xkAQIp9196v4dF7KagQYM2mfTn3retf2apw0jyZwbPiM3IqVHIp+rcDx9VfVzXRYFuWysK5JsXeWOWpp90echM98uVwMKEwGnYyuo1Q1VZWYA7o3zXPG5NIbzloF3XX9/wJOdSg3o90oTojl3yE644ee1nh+c/8f0uilhv4WTFwW6tjeUjKWIwX5mzJDwYl/QV1mOQ5UzoQx7X/FJwQnk9N1p3gKGDnmMU6CX9Ebkilu/0UtYiNg7p/Z43Cy0AjE6sMf5On55AnRLWTEuuoXItf3f2DMj7ghBeW3y6QuuA3bCasGqAyAIo/SzDQHL1Zf2+PX8rg9dBzNBHhUZ4e2FV0thKCtVyYTxSPewbDnUr5PXg3FR1/s33j39KR7YoOcz35VtAzJPTVXyNcliS8YRyBZg1LVA8OSfVgi2t5SZ4MU7n+fAEPGNOSKwLFq9Mfbo2GS6zbIOE0lPa3rdKaXmBllr4GGXtScGkT3k+EgrqoGHg8p+uoC0oP6Hy5V8lhAlBrUn8Qmel0eczWKr+7DjcsWi6NqnmAr3OZwec6x6YgLUg6kBpiJFSPj/scsqdZWpRHnrVT4s+s21HsR1vPuUenjx3y1K9sSyesa2k7AqW/iHF08xP74vhgdUFDbTHHGvudYRHmtLIRF2I2XT+AJnfPxapI9YupO209k4gL03ml+Hk+BFrsKvryJW7t0gmEHUcVAZZYZmOyOeHX/SLg1Z8aaw64wCKJ89kk3fhiMpCEeqj0rBYgAgLZzkIEb6srFGX+X5aDkESS2mkOYdi6K3EBYWsVQObH9kU2ZlwDilZOP8ra7kaIxXY2u5McNwMqMsY1SUg7uqR/FfTecTrJCFdrU13r9UtbmTIAnh0mwC3dZvz0IUWSZQ+QsAVL+/rqpxtdYVB6pz7AVqeZC5THX15Ibb7ol0ySQSLaUKkay0nEtLSKmi6YVXizANHngUX6i0k+6WteytJ7qMRFaXQ4eYUWJ53odxfEOufRzLwUx9+j8il1ID/8NIMPxtYHTZrnh5g9vtnps6EfKhQtz8txENwdnFkcsHPEnFw6jkWeT9RNQVK3Mr0RsNvFP5BktrK1ame/0dXyX5kj1ufALEuJdpIuSEUKTrE8soM8/OgSq2FGrLPEfiKLGlGiaY+xthM9Ba8/L4qpUjXw+4r91pFoSFAPNbrRK5JisCtrtXw+CFF9Fzo1fVD9LpZW0iICc1oBKU27hKxi95DI46/8RkLyLLHpSwvSBMzxydH4RDe4LsWbzfK0p7MwZfLhEoxzV+TnHNP5jeFxMJ3y2CNHyOKQ407Fwwyhyv3LnwwZ93K4b7vFPkCm0SPhNDD9iuPgp2GXUC0vSz0+kcqQfKMtIaA6geYSYSxgl0SHJgOA83DabsiueThAckV+zyuutjuRlBygL85OXF2sPMxDNd65usPySySSI9OXuY8pFyo0Cn7fvBA8ujvKaSseGfzkLt6pTGtzPigHSb+OTyihFSc4k+WVdUko6s97EKAO5tmAaKNu4j6dQJOWHFA/e7VUiubGtsjN0ml1iZLbabIUxmL0N5b1bjxWQNujjiYK+xQySqtU/F+Zq7sQvsa7y++RZ4nnbL1j+DJV6U1cuDsNWJ5NKGNxwSG4Z3Jr0hLD0Z4N4cCe1bV3ySZ/VElFiYjlrQ/87V8Ke7RPx2KLYNWZeNz0JJxZbpPavEpSwuePSj/lVrfQ0ODRxI0b0dd3amP+V7AkYupH8VgTBBvVpJaB64wGibaAmfGYxQs1nBQhtg4mPoVAUVhM5BZJ48oEA+wUuorafJQgbpq6iqAvjO+fpXaWh6QuBbXlXL3rxLfQ0DBSha3AyN/mhT4Dttr5LUjsAVsm9ayF3fKC2ravxcI5f09GMLaoEw0B+lBtqN/lDEncoJDfa39xUACBa3vrblfPMdHm8Q4aD6YJ/mpxq1IU6PZ83H2VaS6SbnEi9AEAISlnLevzXGi4keH4VdYtJicP936Ubh45Pf9UHL/Md/u0896eSutaAyObLNt81j/BZqNMxQeV7hYVacc0SWNmXYzQNRlPk0o62WI4PoLXa3ifWGotpZaXKAT+xE5l1kUZ5ZVrGjC5nFqCn0J0w+rJQbDgSalTWJh7vLrqlWEwSF6XdiblJQWPVFZy4lmn/AnWGRDJUuXLSpAp5SUiGrlcenFeh0JeB1+Xidi+GILdvF4tsJiEwRmZw/HSfSUThN6bKjzYFw42MPqTq7RKbPLYT8q0chNEXfSnv9+N1NyqNDjLseNLeT9Ee4GAeG5edF45ik+TRXb6xEu6AhQRaPK5dS/bnBmkyF68PwVyBDzew0eypkvnxZgQMAjkzlQLd+XkU29ZSdwUKACMdCQKZFbNzjq6/4QESOWQxprzgsSlJP6p1dFYrAI/b0L20IL11TZsbx34Nj8yQYcRsKWU0WKoy4EbfVMAbReLDYlgvSd8hxQEGEA4X4S8o7vU266ec3hyrJxG692Gu5vm+MwLAB/UuPiGoM1QkV1AOBSxTY22l7ga7IK0l6+Oa7srNh0PVENz7FJgmQOfacFDoPjG43wApvcPPx2jxr4TmS2bnE9X5OyW4BSB4pBOB+1ELWScOI++Lp8l2eHSF047wBxkoxT0N7+z6YdX4h+gjA2dFSRvlZvp7mnT2MjlQwsKoJs+qUOUVbqN/qn/hN9ADkuI7Wo2FjZD44qdIGIySDgeQi8avhVR6ouUgyQYcc4CHhyyWPJWAdufFUcA67CyypFw4PfEy6GW17seeJZqyR8yJ8mJ4bCHS7a0cfp9ZvL3njleCOmitQEiQFoAY5muw/NAEoE71DhuuPgFdpGWzcaFv4AVSQX5n0xH+nLeoE2ukZ9sWDEBZwR6AFdlnyz/T/r6QHpDXHGfSHRzJ9h6qlERypIMOiMjTB6F1ShfyWSqEMbKiX4sJSYQGJKZuBnDPk6yCpXMIUaD0EiIOBpMS4yRc4bOE05cqheSlyalKxM5eUxcJxYmUcWSQ4RnmHmC0KqayUHYHiOdaAxkOzKf/01oZ+cj9hbwmzRgv5I25D2nkYqbXw2cMX6+W6EvyAY+2LyaQCJVotuwLTW/E39DP5PirfkMgNrh/eLnbHnkm10J9sGxxVc3oC4YtpDXcXlSAUH28Feb0G6wotsgnRNGTBhatYq76Tac/c/XvF4I2tQBpMXdOSOvXuwG5k8NVAJjOavgROKwVhlD+KKtxZPoPGQ7s+/3pPusCYvq2wMZUdO8BEZfqyzw8sJQaH+z/3YXaN36D0NtzsFKVTMs7ibfZthTTr9DlUAF99KBBXcE1hSmWQ0A2WxC2vt/Cccsyq3TjtBE7vKsGoIGuJDE8bB0VUQAnn7qslNeuqhdvQjEru9rrgR8Q5nhHe6VmaW+ASAVCwwpAApz2axwZgpmClxbwJNFT7hp6sYZHxaKe0qAfEuyFaYZFvXXcOuLsTJw3SbiKDcME/XyMLEjCpTQUGDfLDn+Qa33SzBKSB1Acmnz1kh1lLaErI6LQ++yO3lJ9iPzJwYxR/tW0qGpEuUGBzLj17CaFHHFJVEQ+L2agI8bhNmnWE7zfYZvPU3VEBgK05Y3dQwBXChyRCT8XpbhXQGodR3BVBCSZ/DS8tiKfsPsBJ2Vn8p7U824DzquoJB5Ysv1qSwC59HJknrr7L98kRVhUgkDEisZyCIhSW8laaoqg196mB3kbHDi3Uozjue5GhOHF+icSYZZ8NiK/aTsNhJ8EZeuj+bK50o9r4VkJznLBY1PALE2KaspbMd8RDbPcG/0crg4iquzxHwv9nbcOO0HrbTgwRTJkPbSYrM+FwVIkzHc5RgxDjRmM+mT01CKyyjL2I/PEt2VBQkvU0dPY5ZBOI3m48AwL10bM0LKJ70qx8WIxWOiQop+EOEEeTz0Z5igMAJZHMO1JBwGmSN5z5UvE6Wl6tgLcxKYlG6aGKhb+kO5HYejXGGUGJ6rfeOLOyyjkwgw+iOZWPxNAhjrLWMN07a41fyxipp8R9EYi0h6Jv42LojRSMbpMuZHaOqYU4xpasojKA+jWHO+XDUrUHuS7bk4Yggcoyzs/XK6PwRqryGmgLN+CS6RGfUq9idoqMPo0fM/8KWvNf/oe5b1ATlIvu3Xaad90RrNSuBJe/792Pc5j48OM9711epoEkodE9Tht+ilG87tHPQBnriRByIAp7oR89zHcQcXufPmq5dMLNbViNdoNauPRNUlZCGCEqOZrvrAog+oalPGM4VfQ/Qyc1ERCLNv0DJIrXulw/DRxkfskGpwZIro07/MQZIHSYul4t39dift8nrEgbKHquyCfaXOW/dJpOBG4WetGYfBUuUl8YjoYMBTYhtPc0aVyLWQ8QPqo7Ie2qUicTrcj3VBKaHF+dEsO9Lxp2+0hn1coVpXhe4XCnxo7niFMTNctSeV+ywv/8YoZs3MyLJ7n+h9hTPRhEi0zhwdPm9WljZyAs0j1eFGQ6ZE/D3xH72YtxyAr5Cm/qdAUe1Ru22SsodY+mS/0Cau3okImmKTcwvovRGHg1iVNk4UiWdDl6swCdJhCizTW3PJkSledOJ6l+IOkzxGMf4sPzh9+nSDSpzi6utz9t4sJdbIAsDqacP8LhKrDrjwli7EEdnJIhy2jpHKIm/3L8sPIoWjQGJi87s2T8MwtTEUxBKityeqgZZJiUWoUCD2GsEYETIUO4Nr6F28wauTidMaTaHZ68022SqC4O7U5vHgrskl178Hj1YgXQr86YHLS4QBknbm1vBKQrvhKieyFQNayvN4jqkixnePILlVdpIksc4IW9AMxgYhZpS876QmcSbq6ex5xeQB0u/LeV5sSiA8kF9OcrrMRg78cb3IzUywRsQ3MInUc+cVk5L2FfOAZHmCR5UZqAgP2cxaB2HrBm0Jp7EMOZ8h3reLSlm01NhvpuJsh/S5NAgPSuBGcWjKisaMS/LUP+8Ypl6JXEtI7SCd6Fgl+V7f/SVZun1sCvRXTvkqIEoaSIMGEMWwRMU1SN9ouJP+je18UmzczEQaoLx09MFGO7OlDwjkg8Q7r7vZs0nK8wjVAV9ECJ2fRkLL8yZto6vvQ9QdE4JioFNpyvaXZmOM970DIOPgKSI0iPzmp6eCoIbtBP3c4Qcf92IqVVHU+FtaX3q37qkJaqdj/z2TUWfL/wVFEZAOofhEhfEtKamDAo8SS+yjNFSV16JATWHj+eTgtfvqSxBRWe4DoN6fW1ZalsPgbhoMpj4tUabv9jeQHQ63OWWajkV5HlriNxLBVKYpyO5NQt8sIcOJ3R197Euj1hJdykoqfBRGaydPAe/t3QKux8XDfw4biubOjDUEbIU9oHH+KloDPNs3QhnVnnuucmmAerErro5OXtfan99Y2KtBmOykbV6p9bUZil/18iWsIZNkqOVwyz1tKKWNxpD1tqc2r+gnVkoZldFYXEilLyDZi5RGyyyPOUhGTXZ1uK0QBsYF7JQXNEEarLswwA/4vtfmYj6/Ps0aO3ycp6RO0+hMSo7PC26AvUQAfkOSe1wkoscHMdxgoI6moI2wJj4S4Mp2v/yuMoj/ywqxuW9s2x7fTBpyqfR93TbrkxJ/KlbIkGftpAnLM1Ca/Zy1XjCsUwQe3U/rrUQIng9kQX2Skga7RIs1cNJlWjUV4Qm4A6x1bU2QDMrWhDA0Fa6gMnsi9j6SOqSHN0XiCdYt74ZQL+WxR1c9fjGTW3JqBJhO/tChnLQzNLJvWCnZ4RPhjMV9eMUBPY3Bz0A2E2YrBWXVDMCS1mnCo8G0DweOF4/WXx13rHC+jGy8Mg/3mS5OX8eAk/C/eg5cwR6kzNwyDTJpY19G2L3gEZO/AvxyvW9qvf7an2USbeHw3gPHtQ+Ip8lDoE6OCmADbjU1E1XLnD7Ax9NATZtFWn/90KcysYnPZ0sWdg6TzBnBF70252L9Nvr9Bq/7D+XM4I7JAyamjJGckYnet22BnAOkKIOp+N15Lnp/8f32ikVarvZFbbWhZEiNjPe/XLw7bHcn83GaYnHutNrjjHE29ue2n0qHv4s5UXlAhKM3PG5GL0CyMFlkKcbTmExlMdAsk7kicp6hXKrBLhmTwC6/ddMbizkOXaD8aEOM6w0q225sMNu0b9lSLVb69h4obyHDCTOeZ8GN1yJdxZMCQXw8BvTJdZmZ+WunnJ1FqYKzuY+d/enHBbk6MIUeJz2RcZeah5Xgk1IPaBOs8hJpOqcg8yqBWtccNPOW/1D788jRnNAq+rBHt76b03T49Ov5O3IRrtvE+RKc+xrA5fXvCUOim+aaTOA5ldImRewicW+NH16qj0ihcVzxb4MRaZxvgXhXx76iTAuGL4MejV2GaZo1hMWHLUo96kADdeyvQum1iWu/dexlG4vRcLsgTaVE2jkbo92VU6yLEtQAJQ6rq04mylka2znO4HxsshlLFHqp+SupotKsvY3EGftt9Q5jNfigpBqWRmpsrSiHk9vPgCgnUZVAvxdGQ7G9hXQkP1sneovkxlimn11A2ODIF3g6r6eoSwT6+GxX0VmvlPYzI55VdrAcE71Bix35aa/XnY+J0gkN9rbHtDZOiE7tjogM/wcRbRZgp+w6HW2JKQUnmaQP2UdN+EJE0rIwhNXlPX8lY5ri+tytknkv/LfPmtpAkqHNkdTNBxAntpNhFutkEo0qPGnKuALAtWyTDgAR2DT/irdv7JYdIUXerjS8rd/mIbP0q/cKQRaerNhEQSz983sJigfl1RyoNfqFM/Ax6rEK0mtSJKH0x1unGtgW8YjE+oW3RuSC4OeDl0P7+ob8Pz0WH7+1Wqlv9bvayUR06tZTiOSH+VMFD4Hn82ADd7XA5tTecot4+rESxNs2legZeVTja5PElY4fz1/m44FHkDZ+uDh4tTS78MMFczfuV4NahZsKTcD4aoGXe7Mne7rQxPB6bamCzOGoOjzMYliMcu3xOZP2mOcgsxUa7XSSa3ENx8cd+NdiioUT6aMGMNe6y+KyZja45IcEQDU9XNvYmepH1eBOD6Sp4Af/tblIgjNk0EUeJcoJJ/tGvcCNRSwoB1Vy0nSC6zPLI3x1sA1gGsx1+Mb90hYa3AeDHKr5YIwnHYXMTi3xTGnuQDDO9BqrEDOV7F9X8UzfOhhqfgno+yBflR91V/l9Iy9PTTfjbL1+/k83ai4IGuxUSY3vE89OjmX/c2vrnzf5aew1eFTvSE/wxC+KZkImE2vp3tW7qboHSws2e9eb3FkjEXVM1rDHck1rzXLr5Tq16l18VIdUPd302q/1yRt1AoCxhjblQe4/nA0UPYGTnOC2axoSnn0Q7TvV1da88Y+HJ5r+chQjbkEe9QjcmSK2TwFww8gSenS1RHwvRbGRmLDcixW5CHD+7aPbS3Qe2zTdPxPvKseH5dDcnql0MyZ75rOXz8YUHSn6CHiIyQ34wIP9ONAa8Zm/1y6HWeSB4VxqJEEECNl3O+lVG/DBfl8w5fPaKgs3ZtrjAroklfL86RfOKoyaK0rFkBNgorcPEvgxUfBkOExNncWfyqwZLS5f0qNjBb/ozUns7J6I37O1/E28vum4xw0tJc+dOeAzDwYr6RRmhXtOHwaf8j2Dtqm6kXcF54usQTw+BNXV3c2Yi4YbaEA9NKEJdeoUIha3142rCaPtpqMaI7/6/75Ip1lHPU9ZH0rVD2zbi8WQnr7qJ9MgANjM8f9sgLyhO0dGwH7T8WKhfm/24AbFK1Sj/1sH0eRqhxPIZQXiz6Lo3qjBrRT/v8fsAT3DgVs5M/n8eej8iUZIfeOh4V1g2g2i/4Yn40MC6daHTNAdYvfBQKvUraRhisxzRmIHLPO5GJhWtY8yLchR2PHzuCZ+ztsr7YO38ZBx4P3OZrTzI+fjj7Zl1kimu+Yj1MNxUmHw+xcy3YAJmGSLXmrmT5ypIbXX1sNX2KvPXawbG+Y1a4hzNmvxuDoUpcl7iMviBmi3NC+IuL46Kr9xaJ3Mmfn8QB6HfItTsfjzX2Lwnpa5gvNAIySfH4C8A0cbVYyoIVIoJUM6tNj2kYkyh4P4ikNopZAMbgFRd6QZSdUBVj25+TgeEYyTllczNvtyoXT972SiAaJ6hOflyPcLWk4eywv8l3cICKmRXyFAKNnPqKJsGYj9p0OKEXwrn9DaUU7qQpHcEMyEu6oPHvpTMtrJiEl0EC60OiN9J/j5gicHKJBqQHkuAqOYbM807YC8dhv/ASOSbYWso00ucl04dk4aQT0JMzUoYwKL4KLj3ENx29xeAoiQLKMcRYyw6lVLds899ezBsKA+sg/DuI9Vlbbf75Y3xFYv+tdNFg/M/R1yKMszqoDSU8kdkN6F149780W8tFDzDVMynw3/szcC0Of+8Dt226ty2z4pUy+uETgZURi0P3kmyITpsNcvNo6nez07aH0xwuXfEzX6aj133xceWqLpKkNEBCWBCBYQt3S2XJDexcWFA0p7IwLQhVnk41sJRZN7LlP6ECuvuUC4yujVyugobnwiFSoPLeEo24ZDh71QqTo1J30GZaMPTFeM7aegl6ex461Pm6EkkwuHzgYdlcKQVk7d5hcUO6uYIz97GeLCoK56oiV7m1SKp4MY6n89R2VoX0KB1vcU7hHACr4sHyyURttIWu2VxHC+JzBiR2zW5ydHHbV3HYLDhu3PP0UGTK1I1Mehje5bKgh27EK4S4cAcOcZjnNrDCPWgWK3/EU7zM6lerviMlu7m3IOCZm1In/9f7WtVss6PMeWc2WqjmGcdHPxWLumi0LJMBU9/5P7SghvsTQHNuj+cgjVHM0Ejjo+YFx2q2FItVmaOLrDCsQC00AFIpRNw6pCokdkx1upgTR4hQYrjmkeMzGlvLLVQFt5rYBxxE1U4nN2ctI6stcsmI+gc9duBWeiOHo9lSl8Q46amCWy35KBJHXlkAziHenlJX7LwyCr+JPTQO/6RzOSdGFaUjV/rbLrX/Wpu9jS/v1yeiCotr4snpOH8xnrflrLIJMqftxXl93WAzY/gSBdqp1xc6Uvl2WMi7O5ghZmu66luaWin2zpkYhseP0YxVcAiMnssswChTTd1TdfAL+2AESTlbAYUnywQWMEuR/xaT0Ij0T3PO5VUm7/2YpNJUIZIaUhkp+tBafKTZ9O7lUbTuX8Jx1eaKtr3vDhMZ2EIkEzu4ywxXVVi5fEfjnFttvCEVVc5n9tp0BN4o/O+J99OeXFHUPufcl7UKjly0RU4z4Qx0X6rbJEuW1yGDfzxVbuN19I8nyEJqAZZ6j6WSF1GkECMNEJlFTdDZgcS+vwFWHgJ3zPc96hRi0+sn1AuroJjRnt1tKT3EEClJrdV4/ScJkXUolPnZo5Q4nMzOlTEso1+EcZlMQ2sbNdEc6hHl3uiS8qv+ui11qGcAhT1CUbLeoAT0JQ79Y4DyFFU+6yQO6ZDe+scJpHqKDyQFY5UAbVMGf6X2rnKWjWKvHBN2/3+wJvaG0fjHMDQNIk5njZvttBx9XPsM4u76lnURDG8CKuP60NKjvvJOHIGpVzbzatSUxvt02ZduVRDyFYa9mL02ipAgU4tT+pqXychxP/kpzHLacjY80crnoJZHLcEb2DmMPP0QwEK4IiDp2CBS+FMZeDcl6Qzm7GD1THZwY8GJMvFt+AwlpdNe2zxH0ay/sy+EgjHLZS/zHPc8B/dtLisXs1sRY/iavt3sWAswqDyIuWR2Hz0tZmRwrbo4fDSIceXM4JOiZkqhz6tLiHN2dGodfIEqTf63q5JHEh+3IJn1tTBkt+H9mH+lwFwnByu23eJo/9VzNIQ051xo4qjg9CZJ5sJ30u8T7giaGToVsFt8sEP1WzJqYm374Dfu5mknLyk5le+NXiIhjApelCHUxkQsDhL77f6qqIDa9PLbBAS1dYkSOyRlNb2NxVhWYan7P0dfECTMtZM66cfxCZiINzeuWlFg+qMp1QBfT8bxNanW5LpzjzI6OL3Wl0G/KCvqGcE+bXHhMlADycq97GYi/eCzoc8hs2rPw1D/DeLo8zcOaTWm5DYMyecu7ufleWLynYPqMdgLYPhmm9Tc+47rStIYQn/N4ikyq+L+7IZMbHoU4dF7pOKLl/PjrH+ja7aYJWY4QiruDxdqg1+Oe+zCcg0ewBFUnPM2hJ1WcktLOtyFrVjUUCPxMsfQGIAA6z7TXKO2yyA6ySS/YzgvLR4z3Dh4mEoNlDIS3QX1u12PoUeRXTT42hxYcSEUUbAbqE5yivsLPyaqimXMxSt2dWZYPnSnMQ7vxwsX+JkeYwM7A3XZwVVxOhCLIktp6m6FxqWsjtY5fuf+r3PznGb/pnqVIkoDZn1XyczOfXg5Z91ZkiqheWkg1IHJ/3NcVSMLcPXjVXHqJS4WhEh3xHGv7WapA2O2dZgmY7in8rvRYIvGqVeDb1N7qRObw2kMnqdS8t61WR7R5oRJSc1kfZ+lwOlIyudxbd97RpKShjfFxWBIPLeBjE949ULoGPt/J8HFnXAWr92TDT4oQrJ2oYYlNgxlaksdgFJcMhgovO+nXbltTdMWMwMonGy4IFxKeIeEaGPDUDLPzXdZt5ch9Ixs8TQCOjX4ELt9vDDvdaZc3ZfcBhnFGuzArXhBpojA1qLIEmXW8uINfWnQaUVW9IFYz2UKJCAbzJOK0lk2if1RIby6CAQcXbaEJ6JK0jDsafpvn/zuPt890cs671bI/WPv+1ViMVNnSmq4zn7uvRTIPdjT4IP9QQ1sH27UsuDHHu+O+FaaJ7udBAOfTylDUOk1q/GiQG2LNEuZ3Sv7aeNUtfRbkxNwGplVMTCy5VmmxJ7e7+BMhgSnYppEm1vg8mAxq8hxKgIFP6gNzp8c3WK8mI9OfHavLehLjL80R8+ehlQ3s336xVw6AwhPcd0m4gVcXgWWfsdzzdZFk1VI5pR5nCVFjktJ9iENQ8O5JskNFU9eYRoBvdSwQbiqJh0OnsjRYsV+oQzElVBWqYIdWDaPDjG/ahx4xhGqQNxaVRNLHgTsnpFD+Sw7XcFJvpWGvboHBZLyQRE8FIGzYpDn4TyjaJ5Y73QxzWN6awvVfOXOrFYiJKhLKsdUcrYkzjR/xNuoOOTrRrx8bSAJbzRkPZRHNwisbPEJdW+mW3YbjQxM4majxNg6n/ih+g/JzdDOPqQXPEM/ih4DifklcnBtN/WeU8qaP/0spOh7qltiP97/Ix6SprwABau4NFfU8DCrClsAuBSienTesFutMl1hRPQ2D/CP9TIebIYP6s13rjMzmhT5mYYmZamM7V1hGwOZC1kFj7ZlVBJdM0HjwwBVNWqmEShhyRhaP5lB9aFggSJlK7mlbszKk6cenGcVWGL2oTthki82rTklZVVyNAAvEot77JlvYLVm/YcDf/QxSXJh8y0Ni83YnV4XdZI4/+B5vaDMp3zmmltDAHEUBm7gnjk2ahdKgoHqhD0lSgIxCKaW9VzlZ6Xu0Fk+Zxf1A2jrUnoLmE3TELnwpahDcAIyGUAxJnWT/w/A171deUhzlLUCrDSw1j/ehKwS1qpi9eiGlit25VjwHxLTH47vaGZ3Ozm6HmjdfttByEzFKx0Q74CykN0MAyg1HufSXzewJ0hMdKsVZC/O/gK8f1k9PHSk0buS/3NAXM2PdbQWhodQ9ECFnpD/A15t1Pl3dnSKnNZF8icy066xXLWus3D8G8Xh8EeDuv/zef6sKzO7g6hWRgYsYaRNF9nOEaGsYfEPM8SnZQx48wUtDbMjqlNP5fyGzCxpPod7spcVEJr741fgG2uMLe4Lq9XYKvLA9i94gCn1DCRnI8C51pI7OQHhLJzlfFZhKIg0zjAFibjPQICxSJq+nBcC54McMjcBHY704gSjirrRIXDxG+kpzC4m7hedimthUrTdr+w2WVxIvHUaaGiVje6kVDr0wbbHpf1uY36+SmNkn05ItPkZHdVb3wD7gVAF6YIYTJFCVSenQJQtX9/C7jljHM6HIvsDZ5RzIEbE2fCP36GlYwLiwPne/s9R/j61LxulEHHpFf9Bs6+TLB1WLTtc/AQ0QOIumGHLGcsrX6gZKN7Fu4CJ2ZJWxjyYv23tSfkGbYXWmXWvX+ct5WsNdJXe9k5+AXEFU2ygI2D4HKdssFNst9gQ0/NtJzG9edjDsLl3Yt4ZOljwTgT25xaJdE/BbxAk2yHlXF1oqhiO32f1CEuJyNYXsOdRirbWrzBW48vA09/VPFzNqX9LUrSdBPvOFAQ2daUz7i34v0+sCtDrQDZPX4y0F3TghskxcNRqsUuGt9Mm205O2N+7dS+iqH7SrQofm3mhQfPXPfvEHvcOPji2AdehbwFRWygxRx/Er1ACpb7I7IO2Eaipe72zicHRpiJ661waqOnFYYHc3uRwFCbXKPnSVd0MiDQe5aMXkTRz6gohRct1P9vudgliRHESrY+earicz5XNFz8PoAQEnq1G5cvhgYiwHBi9ACpPW304Hxnzw4kcfbEFhaE3aW3UBjXQWEUNTxgNaQx11hqS9TphK6J5qGEkncXaPtZGf4IYG+te7eihwSGp3/WJqifE2VCzMJwitkhF0X2WMLVlvXEDB//MhPA73J1qj6LxKXy3o63+nsWUnk2V7+bDoA/25RJ7ItqquPQmMzmb2liB921DepXfNsEzBewqLAdmcMarUI4qyjfAtCCC9phDJ2FO3cMr+K8rlFEKVAYMpi/fIioBRlC7RyjURFrIXZZaxkrLrvk7UzuCJ8gHYOP2FZaKhS8uhfpznceAOi3frx48boUNaG0pSETcD1L1CAYpQj5LepRErMZMXLKHftFPKO13Exj/SM+Wl2f1LdXvHmkmG+4Hw9gGAxqefhDc5cgR0Xk2fP+IcPYZuYHf96xTdQiamp9ZtNmu4EKY30kOlCB/3i+SwV9nE8UPKh7eTR+6ZBjdm2UaxtvI5V9mxfmztCiAFtOBbuD1MLy9HnfDUNRVHjziK9NBo7istmwtdglZx5f8P7OwsIkQHVyDglTJgNKQSiBlwxQ0b0uQwMDVCi9KY8I879LTkfMMQsqhERNuLAKze3fMbwbwtLfOWmcpGS93TbxVeEX5kj2U/I4bfhBCBHZuVuh50YFlq9OApkqzwL/WBqIABDYK1PFrvZh8fB9MytluSZru8qYoClpueZh5bvd4ms1zwacc/YMyg8wE/u6iTBof0ENdnZgpbuuRvaVid9VF2dhG6jihWjarmnu0HFflNE3Wn+8lBnW+Z+NTp/i/aZbraDYuPbpD9127/WgORyLwDAT6fwxJ8Unsv0Cao/mbgU0Hz3J4kmyzcgObGc8imYDEttLTdm9JiWmOPDybMRXSI9vwmvqfOidpVpzzUp/cH6V/neaSIzu8vZTfo76P/u2r+q4DG3KFby8GV8+uxfCtnVODFKsKPwBUPJIppUte4bfWbJH2b1KiluQlft2YEuMpQrLYswHQaJ2Imr38IvdqyMFZCrPIJbmu/RNuTE4F2xDG9ndITfHoJM3mUuuSwt4quOul/5rj0l+gvMe5vPMJlXupqqn4YiDgcqJWmIZ5aNpnkVEfYC4/s/xUFLHDaKHZChSmAQBnC01YFRM20vzkfCM8IDsjH75Igh1MQjQNua8C6uov+E2tKxrt4WWP+PjSjs5m8SObjiXyMZz65KXId3VdKwrO8dDyS6BmCVu2+XwJg+flUExCkqApRh00GYBsZhETDlEZpgHa3eKPO/nZe8UX/GqQa0zIRwBrcZD/0F4IEx9KTT+NPsZyQH4xx/nI6Dp2LBxuYDiFg1RtnjG6wM25vTgE5jhR2sI/GvHQrYggph0YC8wxYy3hZpK0LT6BDKn0e8aHQ6YC92g0jfj7bBntremvhTPyh2iE5SHTmUfNVph/KBSUU/PcNcD5Kq1cTMw5fnfxAJ51pzvabPFWc5f4MiKyiiuA/uSNQ5u5bNG0I/MPdO+B5tJNUnS4ODtR2So1qJsjUmhjTvh90lbKVJAa6bnf0WDOyojjglsmyiNrONvBkvBY1Hs57MiGZ97444hw/Qb8xou1rSLrRwar7PSxB4/sMoJqnQ7TPB68wcdsA28POdYfTfLt5vQioaGDshx4lpa9iy1LY74nHu2mPfLgXesMiDb5yyzIAw32hDDy3PMN0lFF2QcotjM3CI5rCreUArxyYJ5jcIeKvyUOpaFLatIoZQVbOqwzfcVUN0sLFDtVGO9zVaFijE7rNpE77jSIXkY9adzx+xrV0dilNYrZP4lTw/Wi+4mPO9lUQy/f0WyqAq0lnKMgnBVux3rXDvTHKCddEhN+Of2TTaBAvnkE0wq15YbPIxzI+1UdJuD80qo/YbPRuKGv/czxUMfAtyKk1WmSX851uqGIEDGY+W5i1KH3REnGCAYyFM297LFjNUC/mA90gnY5XwTYh9VuT+6wYiJVeYVYJrFe61Ih7Sp1BMTkYg7eLDdR0DJpVpqG8Ckd6RJs+jrHNXizdBKfeiMOCXHYOa5B1OwC1yW4c7WO8s6pprwr8bSmbB0dn6h2qdpVfnb2G65FOImVPB3oH/g6KCRvGmDe/2sC522sMzeVfKF/0K3N16FelSERbtCSwdKHDqtFnOUQNyji6dfW8PEeSuhW8Nxi1Z1IknDR1Au05sG/mm+E4h+liUHKgCWrTFey63+JmsG7hGaxCTGTAJGvoU9A+l61cluYxUqmHIAFjHy+QB9sY2eTNzMExkpzE331XKQ9YZx6ZZzNByTh1/D3Xfxw/bbBPlz68SMEI0YH08fGp7PbKFaHiUThstxHPW5ru8MPCEtimeTQKGXPo17ZDtA4PZgx87112xi3DCYus477AbbMmM7udl6zAx3EIQNJLZ6jhcWBEzppX8SVP17WNr2eQvOOJyDIyQQbpV2Wx6uxcfToDT19cSKjwyN2YsEii0f9cmgRBozG3qU5YvPiVkM6N1Q8eU6sCVpmsc3xC9K55LbX4iVzfikQ1eoSVRmIrm5kpjAnb4kpJW79QBfjIIBJbzbIs15IZw4uxFFP06rj8it6h4LXFgt0gOFq/Sc/9ydj9D3lIPRN5fUyfFG+0oKhn4PUObC36cH13Me3hmvnlr6oYmf19VtmfWJARQquK4WjcX2jJoGlLyCtTijFP78+FU3XgOL9dRHK7egLTA29MlUa6C1vvwBqGFu3u9qOg/quRalKm0Vlp28jeHMiKwyPncqdm/C0xbfRwtu8+X6NXG7a3mC0WJwF9/tg5KQ8zHl8yyrkBH61kia9lTKErrW2jLAagnnQFoSEiLzfRorN9g+sPcoTlHOzQB6b/1R/AW6KLRQPHq9jkhahENowJHAthIKMOxPLrOLCKUFCXv5tKOEyLgG5CPJg5jMmTZyxoja0GtQCk3SADdhEfW+pjglkDzx29Rj9+MGHxlEKg2R2WZ/EZnSv1xKBrBtkg2aiGpdaNQ9U+FvTiVOiWiua4iXz2AlRuu7DUbnFhhoqNdXDg55FKLUEsjC3EG0YfFmPOhHX1jZgZLKYxjrhu586r9bmEpB8EodY0cepzt0uGElaIb7DM3v6ijge9QLCgLopBaAbKjoWsEoAy7nhshcB+JxlWbnUqWzmuKidLL4MmIM7bVTaCwYoB5wq54Gsl0h3tcvD/hT4o+3pV12sWPtrXybxAyLCex8x8JpBvJzc4KakaCQCKwwZFIY+knZknnGhOrwe9yFXEgER+FIEdsJ7ZdL9iXuIEURVolA8mMSE3IqAeSb94xykwlPIhFl8aZkS6yMoq4xiSORUNWJSFgfsYSiV2uFEYnlm2HSw6CFPMPh3PoRsqlzlOPkiP60ShXXEw5aEKj5cQrB9/HMqoBJtgs+kZamAXp8z7iAcUs2Olc4ZPE/E/zqd98L+cuxtmL7WjKnIjMrnzKZYV9qzbhduH7TySyoKc0do6n2kLjrzk3ndX87K1E6LFE/bBcvI7Xx8yt8b8dtji5lWbhWD+utqyna52bibPzXxyB7uvTuLYDpt3fqZhAwx/dqKyCFr2ag79CzmydXFNbmqflkDTwE+dxHmRi1BN2NlsUtdNUIjfs0LAOuz7ziA3LZ5SnSVIyW9yDhyAf/hUuyipbAvl2a7uLaBbCvpSMIs8ZpX4EyojOWIwkP97t0l9ioGNm0aP/lG50wvdr9yGUeHhQAZx7ijMOL7kSWkxFw/1yocbfjzM5clWZEq1rixYbge6bjK+UcytWHrjfx/T/JmLzgt6uKAYeBruSk0JujkkUk0MpGEsOp8zFrm8XC7DvBSgT2R50VmtdObbC2wjS+/GLs6iNYw8hwawt/8sV10s5a+EXulJ6e2wI8AqBGtTDfmmbz35ycPTMEuhkjXZqICiJPzaGF+8rbNwBb0iVuuweJT+RjsxleN1VZUPjqePyD1lyeq6K9VJEJRP34cCT9hD5bMT73BIesA6EjqdcpKlptWoBCHD11ggQl6H+G0t0oqiVcxcmxUUFere0aX5a5QHoE75Pb4vaKf7LFqNazLBJda86n09zOqjMJ2nT0UndXjtScOfzlqIR72IfMSnv3Y47yjq9NBPspcin1Tup8z8w3ihJryt19bwqeT4PNpYVZlpg+6mzRY88RQ3Rlnk5x2q7s4i1GctTGnrIwT/PblJtTJHXzDqXkf9JV4RMja40qVZlnnR4BtCHmHj4gCzwW9FbDev8B5alBr1IkrJpyXk2rYEO6Yod/0fzY5oftPd8q7jC/13Hql3I8qTQdT9zsU2Vd3ITGGcZWC0a6gyXgIEa9LgYlBi76Ra1/QR+2rC5ESsNP6mzZ8f+Ly6OD13dElWnzk5Fwsumvg7q1Us0lhrKlMET9waWE6IcLXLQ5GBbvZyWZCzZD1S/+7ZUxJK7gJh3zHOK29V0FUMd1p2LCPqlU9m+/TFncz1MbomehuXJXI2nyyK9fHwn5LHs6yNffQL+iNd9///fz/eFcDRgwDrLR3xmN/NxCBPmz7kWIofp2l+QIdAZPtvyNFvbJyfOA3IY68LaovFe6kqI1PXUI2N7OZ4gYapZOo85m8x9jQki8gpIhvt3J2Yvbl1YDLnp+EgXZfusxYFM1zsQKf5/Hy1slsSSIRmwkQrDuhlLNLtbf1aBm+aQFrAdDbYwIcbQTUwe/hJ/swWMCzFKlQHxz9PGlSqFDIBFODc9DaECcprgCkmkydwJ5EUR2AVZPyqOp3wc0wz/0ZMhLRL1ZFZE865N+HIPV7lUO8zyxSN2IQXvdW+3DaRmnsrkONndBDCTW77hi9Z94agO/7F/n0bawp/U0GMiCRz7XZ83AJVe1jDSJuR+Xjxsa1WcTEqw0kmNF1D73kADDipX4RXGaX+e34SpT5xrMA8w13ko0oE/9fpPwggjN22ocwcxvjlr8VZ2aMDWmwnkk2OtgnLgLY4zAR7GV2XVXzBecYqNMYf5Zdqf/sY9bRkkwIfeNbRQ0XAu1hWWTZ7lmw+pEXyRvwAZohrdQhV2e5sD64tYa6bMaaQLpmbh85U/IfosHG1U8pd8NcChtn54a74VGtBUhWBWLuGltgb3QfegBiUmbl43elXKT7z8JahvThT4oyA0XoJ+sUW58dDIqytBFQ1i4Z4GPW9+IMzrzbQnZpGybeRsnFt0jjtWCHszg/mtZr1B/vNkuQ7WRruL7/06oSXdWHQMFduDvw0YvnmlhbcM1z9Bl5SYeOSEh5ZOr3djQdQVlQGOpx2OrsWwYx/MaENNtuQuNXsZySYMdPvoIbBRmwpG7i9gmeleU4LJgPX4occFc8GVLrdIlYUwprH05d644Rh5vOuaqa5/yP3t4YyfS8m42rU0g6aR33AJMRmek4szXRdi9pDdeVHnAPcjg0zckDOfgFeWfkLsA7P741eRhHzs7yoyRJgRngtQovDWnIUH/HLCQ6wjJhs8QUA3W7cuAZiyyepOEd/Azd7w3kYtpi26OPrrZLhISSqXa1TjiuKxMRvGZpew20w4CowwVO6oBuyHaAzKtxiaDTJWSJMlNnkyZzbKgDxDYfYsWeptstQLj8dWDQk342RMFU5dANWRkc6CuwYrfhvnvLmiH0UpleIiKcHJ7uHJ7ejNFe7z9xfmYpCymWQ4jPSbF0RS0QEcKoQgBtdTSARbcwJ7BkjjMo8GKL39PVVYQdH3e46CtW/mpEDWHFdtdTEHhz8Z6mJg/c7f7SJJMoYAFXFvPX8CILQE+DLthZWKQ0tmJCqfH52vR+Ux2LoJqtJ9fF20MgxacSLz/JgSrX9xML2ohpTBsgOdn65TK5HsHnYEssixvwP/DYzT7A/7XWQHAmmMK1JKSFob1rbzHo7DV3h1y1AR7v5vraLt+FycE3mZWMuaJN+IJrJdf8v+9c4YL+bdUjubfAsomPNZM4SIXV3Dt1XlQCyjz1s+NwEQTV6Dwno3ua0VU8YZKxvs7+2GGNMUIewFgKx/IDPVts4WXUnbr2wYPjL9JuzqaNY2+dSeCZJoZKngCwmSQEX/ZdqYBUq1dJwHVq6sbivOwXjdLv7KLcYgvA2prv4Ux0OjMdneCGeVsx4n3hmO2aVm0d2U9bpakzxE4I4aqycWAB3j9ZoeG5uJX6cnPVJtSwpyN/nXslfAMpEAHQrUcIA/dViWYmHly5RMucVCCM0Z6EP5ZcAlT/E9LUi2ng+F/MFa0Icb01SOUqfZmqnZcCkdoU3s/D1LnVuR1jKMoyAErzam7IxHMBUuaBu1jcTsy/5GaImLmlOkhYwd4SSo1BMOA1oVjMoaIrPy8dBsm8J5h+4MVWIwnixBmeUw+edpRtAtn2jaGFtOOdVpRa0w2yUjKtSAOwEgiWqUbyEUG4YSBa7xu3jOUMl7B8Dm3iivlYKWary3bBpLVInmbifIx93qaYmDV6BFc2+ixycg5zy9VkdWdrNv1/13IGJCu66DVO2gyL1ZWtmYRrYuyHQWJPQWvzMSEJ87fjpnf8oIIATCY58D9lbuFHQsvUCswZSAoxRat0clvVOMCVa0A8TtiQq+LKx0opSxnhwfB85myQPpNfCIre1110hyE3m58Fl4Kpp1Must3kT8DON80iQP6KErOCKkzK8EyftfHZdVXegbi3Yit3ItXMyQbkc1LpDKugwACZT+0HnCKrr1o92+3jlfEJuf3f9PRLBH6Z0s7o0bqoxIv+RJB3f1BfFHlgakxdSgVLrvpc5Th8s4QN6IrJhucqIAG5uJ7EOYG5AJpNpb/NRx7ZQORLPrgxX2Z9DmTN8mfqdjzlFbXzX5aqzbLq/zCrj5RfoD+5tOpBWG24gGkl/skEdNfZjwzIYaBPuZdWg5TnUaR50jGAa80apXKm3poUwyv8a6VqtBYP+hM6NQlkNpWnUTACJGWR3KoD7h8A1mjivIhFfo7aiKD8Fnq0969z+JdqxgSXw13X9x38MiRUNwXAAsx05nKHB1U4KSeP3Vyur78i/CVxkeuSwyKdr+c0aQfU9u2nIiffHRyNTiVDdwU/oZy5+wdBQHSl21D4ZchqYuyT11z31+zEyHaOOMyiOD9K0Z/4lbExJloaTjZS8dAW2rjujOuE4/78e3vt0P8PA1YGQqXyUhY2G7QNRk0GvApsk8cQ7fuSN6Bvn3A4ayTZQ2yuLiW+UXrzkw/H3R/UYfOj87Qxof7bQy89Uoe82YLw8x4Xt6xtXMUDVHuKcrhM14qsu16+TynAfR6IorVn04tgBllJaO49Ukh8g/v2l4NQhZ2lHJeOllJb/evg++l2yZDZ6ztQrhR2IRpAeTROEQhXjD+f3eOmWJTXko4NRiVxKKjzkRUSjP4cKqhiZkszZyHBv51Os9Pj8zzskjU5dD7ILphOU9JVRYxY+LyPsRlLYbdvPfKzpXxu8ywJa8o6o/zhZjgOGurzElocqWohfG/ScEA9wrgh/F+XHCZD9WA6YfbNmq0sRU+w+ktGUT8W4TZ3CxjKAs76DsDm/KmBZMe/DaX5LhrDnPF0ItMUfWGxV+SuCku37IKe5MC3fViI6MHxVvxpGxoE+nnvAG9+ORAfqO0zJZtj1YyIS2naiHknKgOIEzZxWJ2W0A1PYduRorkkSnQQNlKVJ90OlDbQuafmYo3aMGeUNpyiIyRsFQ7Knyc5aA6Hb8HhCE2oCJOH2n8wPVvsvurebdzDs2K+DKXMD8vlUT2CvLwTF+DPJg+BWaS3SLHrV5fzAM7r/Oo/kLjz/F3gh5EFyzBJFFWKiP/Gl6IhVKrtez2+OC8b7N44dSjk0utb05sYNlNZKMYHziY3vF9HqpFDTlp17domRI2Jb5bHdRWwvTN5XkBXbQ7gGs2JVC/i1QijO3mchHc9yzwAC+4hBss8Fk9uhL2OscSdKL3QTPXwSHG6riFnxBf5lSFTWUkwf4mPdX8VL5tTHJOeBz4fKVYilOke8nFEMklk5KUFe4wpTa/ZZwr/AoxeujZTEldt/bDFaIs2n21UVG5fGwh2h1NGJ4dEcEEr/iqOE/WcLb0yvhcBHIj/vOp+4xCbE7ViiAzT6Cer9BB0cyueXiPtSeMIDCTQYH9TUeQ2rGnOP/pJ/HJ+ZVil59TMkIuiLCZBVrYQG6SET7Z3Fi3jtKk9kSyDfBPzTPfpGk6cn38ao3XznP/b4Yqm9sNHgBf9NrOtHLRUixcIimapXcgYbzIUO6RX/jpPjXls4Idq1kQRR6wjmfHhOsTSGrpkUn30atrVfx+LaNxp9S9QF+uFzc0uhKmMeshAKfxRYq66nG2znqfJANRCB3YQlSd1WQooWYKQ+YDsxItpvHDu170V5s7Z+lRHx2JFJo59ChgWX7CKt3UVA8IZJ4Jp1B+hy54CMaNJZkTMTyl9EgN1p6wIEj5C6tH5d/2CfIfFzzxoRvO4mshetD2OKzi2YhqHSxJRipW/41MyFYIrxb5fHLCy5POG5TCnSMD2einBeaw/Hb0/8qH7mP3yhcdMxmd66mUXF/rDSSqY/Hh1r4NjV9taCpnryDXecNfSdYZTQMQDyw3iYpnZj8ktR+ipgEBPnjDILCMCY007/AV439L6tcD8IuWSSjRTMuAwX0EB8PKZNhjoaqwH7itJ/w+JtedzvvS1QjbKcr/IhX8n/NN39eNTN2qJd4iFSBORwFm0Ar9CPbgpwmVycOx7AfQYXjhHySLJbqSOP8YyoSGaq+ZOC9yUoh55nGZdGxfftgolzWCZEGRwgbhDV/Nilq9YySE1lwiOFIinxPbZ6/XdnLagU0D0a8jPvEkdNG/TxlalNdphT54sgZb5cm4yp4gK69H4+DAml0WOS9d6raTK/wV4e/RI9RpuyPnsIV2c/ALMAZRoVCpH7ZXMVWpjPnke4uo57RYHppYy17slgt29bFt6gKgftoMWcSJYyed/UzTKZ+saKfdewwYug43xL5zc0n3Z4njAx+xGbEPNxQUxYVsEoucjsU43iusG0YEeTIJVCLR5t0U17BKEVsxCsUJmWTniMh/lYJHNEb18dA0ThxUH2pRbb1ZPh/kvzgpHc423zqoeIU3KSRzUSuJiyBDIsu74xaW1pkR1oSAogFLaYM2j0Ln4qdfiTWBYBTOHGxRJvCbHA7htVXHeOBdvQ3wi4APtByp7D7VjtNC6VQzavb/uWhgC6+UCbrqJdFjQ8J85M8Vlz7AQ2S6FxCNDPcAiyrNkTxHX8lsaf7bFQJ0ddS+hDTKBLAJ5WE6MJMIpo7EoyYm4eZCLAQNzTyxF7viiWHc79Me0YXj2UTva/N18oKKCM7mc5zqaU0YQPPoGqR3Fkb5ASXVpDUkSiEHS2bII96Su/yxc+9V5n+vluYT6oNrPw5kgSNVV3V2yTXWFxkiH1qRiK18QFm7zTCPZyFTk4FxY4o+GjU4PuzveAskuRVhqC2YQhDTt/O82y61Pq4GLKpQdzRO0pm4TPQf5OHFboIcoIC922lpRWuQ7hX7UoFhrpj7R+laVACx9C7w26F2uj1ZpkyPP1vVgnv09CcpSB/NR5SWigUb5itZFDzOoVH6HFVpO7X9T7hxyqY5c2Gd1Xjl3tsPgz2JDvHw8CaOpSufipHPxrjrerOJkH4eE6ktoIhJEOpCX3sQ6meOEzMaiNj233vO8oHcnXZz7CkUrpwhEI9seQAqcoJAXz2YKMbeDWC/Iw1MtL0TWcINBFiBbOhycqx2O2Y63Tjf/j0NLkoQz+WQpNzwAIGLMau8xMZKGSKfiOgbwgEadumY1WSoqf9UtJTUxQ5UDX6INF6+hT/KJxvi0v+rwGrEDpqNVcJVZsbov59GXmTW6AxKir7FfDq/pVBtyqkxI4KK+vzNOA7718xQuyJtXiK+M5J7dX/2Ige9CA+NePTxAvF8HzyDwFCHquxDt0FrRfmCAxRTwOvEnEW/sQ1hKg7gzbhQ8NyF6VTdVrVGzB0bwaZmrmSaw918Xyf90La3M85p71Gs0EAAOxlr01+8RfdNox8oJ6339Y/aWnod4FshPgYBKqUAe63iX/zB0aHRQgvExoXw8UwGL2Z6wvrMY3szqNj9Ayu603p3r9uA8+TZhvqmG8UPA1kVcJi6aelUIyxxlNBpfe4OPIZVVh68DaCuQakEZvq1nysyS6L4xdL7/yQnnGtJ+naz/pqZ6gW0w6GJWRtLJXbvO7r9QRaBX4kOIoURUsbz7X6zz4tFDQqICDq7m7ZqSDxMD6dcU2z+ngh/Mn5YPMJvqS1ul5cPuyDInrVysJ/vNGH+QqT1Za40twRhN1PsptEaU6rIgsfM+egPkcH4LmYf/zdxR6SNV5YdU0bLuEO3zvkyUOH/1+hQ6Shext1zukWEvb/jqo5WNX4NFGnHgLivJjF2C/WjXZT8Tdms2eSlz+HMeNVbLmhON3S205i/knaOKNSmKFr7ELqypwi7XlJQz6PbXE9DNgRggygzCRtdvG+m4d2XdxGIESHHPTXrdPsOMh+CyBhMHdfGZMw5uQubMaZ1omBOybPPsVrYzmYEuMx6fmTZj+ycRj4K1a3FZoGvfDbZy+t43LsrkVNf1SdJVG82geHjFAqDwDfugfu1b6VUsnbsdKQPBbgImGa82/cTYUjFJrNS4s2AjtIsUhDmVezxXf2e1vMmNpNvqckjYojAbyHB8d6oGbE6XxUw+dxH+Wyzf6xx1ANYWkLCWi4dHsPPqp/NMTuF/MiKvgEQDWZJaRglzEGvlAuh7X/Cb7Kksc9S+s4opgNohhJUaXkoUNVuCp2glFezb29H631JOLZ3CAT4GexGIsOiiOYPqfb5YF2MRGuKYAoVhyA0saphVtbecRm0DzMAlqlFuTnw/xLVWOX459Xg8MlSCwrik+vefkIswhvgjQNN+vEeVxtTNwcOCaymLi8iLbKNp0LrlSVamAxBHzXajdtsZYhq2HP43IIr1oCCHZl5thZjqk98Cx80N5TbyoEEhXCgeme0cDGtqY7dAWeelt4o+zRsZ8A8YmV6IU=" title="Mekko Graphics Chart">
            <a:extLst>
              <a:ext uri="{FF2B5EF4-FFF2-40B4-BE49-F238E27FC236}">
                <a16:creationId xmlns:a16="http://schemas.microsoft.com/office/drawing/2014/main" id="{5B3228B7-D118-4C7B-B676-2AFAFED190A9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337342" y="1791623"/>
            <a:ext cx="3633542" cy="4644487"/>
          </a:xfrm>
          <a:prstGeom prst="rect">
            <a:avLst/>
          </a:prstGeom>
          <a:blipFill>
            <a:blip r:embed="rId19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rgbClr val="C00000"/>
              </a:solidFill>
            </a:endParaRPr>
          </a:p>
        </p:txBody>
      </p:sp>
      <p:sp>
        <p:nvSpPr>
          <p:cNvPr id="11" name="Rectangle 10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jqLMMMTprJfiFfMfF2PNjqv17fihSZHpStDl/JOAZ2wI38pPu1UA/lNs5A7hPV4jh4Ks9EDSos8em7nPrAzkRqlrHalOq0JSP2eSTIURa7LkwmscfGnojZbWptcp1mRPlCLflta9CJtRcgk4WCnsFOpw3iSn0iqWWVnRJoASL5I0z7Al/YdCj1NDPz9H70dFT7dN722Fmicmg6oTNCCEPyaamRozw1IsD5cKAf3YgDI2+bzHOsZ8TMuomlyIjp8X9aQziRaP6pycIhjIRR7q2eQ5hCOX2NZ79r+UJfZQMQXwR8fest6fFA6QgGp63bfBIx9Ckomym3r7eFCa/Sn/ZeLw+n3hrDyxD0r/JpfMIZdxcCWZ8S1aU9mLpdKrXe3eyX+++ARg5bqL33wNCHQDdgziXs3fIM2m8aJ/CDAbJerbzhFMbJAEgd+LYKMzyhQdkWb1Hwza/79ZM6q3e44wbN9kX7h2yZJ8jgDKhlCaRbSPiOJXC57Rp6aSyIGFtGwOEoUmC4860VUyl90RSPofnu+vasrHo2JaR2dVq4bk5at5Z5yqDLpxOte7JTcYkRy3Ws2Ub4PdocCW2tP09zo0IpTqrDwx5ed6Bt0lohppnTpbB3uGatOkpiE14Fh34dK+wyRsF1XFa5kQQ2lYpV5Moaado8OaKrEtJY1crTqYd4AmtInpxOJMEftw0gOLxh/Gd7K47iyePHak39eDiK7DWR73OdeKSaL9HG6EfO0dZ+YAa2ld1FKmdEoUGg3gdePEY584Y771LPLlby+QQ1PQgjkG6ansBFn2YYqKmT+S0n2TB7mTLzSBlJCtZ0RbIDhob8BYXhx0eMJtC41ubxsXjDCgAH0fQg53DXV62udHQniCqKD/YOIU7RW6z2GyilRdBedNY3kxecP7ORMzAx+qXcRxSf5JTwJ25V9sLMZuCql/scG418+BGz7FiZr3fiCGyDCGcV1vUtZ3h5NJRmRWbDxJsG1bTbMY2eCk2dmaS/ld/oMKfnXYesCnFGgdqVy9cfw/IyY+1WvPNAxHp8/dzyWKhqwpCs1VfwUR8L8nFZ0d6SZVVPs6vRA1V3C8jpW5kn4sdKAfGHy/6fkuWF23qDhiyqZdf8LqaUTKUoV6m9f1+zEqPP9O2tJebsG8plkCPXmTFF110R0AHjWponC5v/nGA3OJR7B1a3zpgrpumPfIcwpkf0VrTeMZnFFK7tTEnINjn5on4DF78KNr+7YBKm9kuXVGmwV09WzEKaUHtNhYOKSUzB42kycz1amh4gkpeRFZBevbd8IMyqbl0Bwls7tFLrJ8SGtjt9V8plapLDAbpO2ah4hzmbaA+sUoHfxOEEkvddzX9/CVswIMbh9Dw11M3KLTG/1pXIR1RUmKuLJsyNfvun2hgjZ+9OcUdhraLgEL+pPSyBxcG7yMxOwCxl/zfmTwO4J3IphVVbIzYl7c0LizFxT6nnbn1lVoHm2y1oznTzVuvFfJC8CfXWO6SPn8reADOVDeXCcNNxYYJ9s9XApd7DIf+MtpTRwAJZeYC66EAtu4YSq+LY2IVNnzXdBxScQLU61d2Es4m3o5X67s9KFctSQQbN1KvvbuH8Q04gp4czxEGXt8VN/RKlCkMr9cd3r+t3ksvc0MVw5TpvBQdy9+LOaYxtd/VMckUy1XxCPEJXc6/VEZz3azv4lFYQzwEvj73rnhhtTuNG/p+9d+dpw2/QssQQX0oWMbULHEAJFSQdRHuQxFZKsDFTfZqFi0TybYQExDarY41OdsfHdBbeq/FC/KzTGWvqAKAe4pSCTGRtJK9hvKin8Jdg3i6f3XwRONGNW1WbrxJdZ2C6PBT8wJ5FNSC9ltf6KNKUW+4XH4zgFg3u9GAUX/+g16InabArXwumBUhgF8hEFvnahYQemHt+holqnf5Qni8F1Lk51tD2Av3kSbaHo5xK/RLtOq8a6cAnZtMmfkipGlG43rE57okDhSeO/Ni1cxKq9Shf8uUm8PIh1rXE6frkEQX/mZATmM4I+myfGE4edq85Es+pskAN4QNLhVK7rt9wnqVQ6j7X8fIT7rKdeqvf9BNViC0iaCKgqaSoC/5Er0SJjKdJbeVnLihCmALzqCmAoNTI+90q8VsoGu95YjNsnOz+RsRomxQ0BYQhJpct5JsqhLg83WIhNjWT9eqkgf6rWRuKIZKu6cVjmQ1zcNEg3G/yTZcvW92u0a22dSVs64KYNIfsA7L2tokl2jTFw8M1ReMQghTa2UYoUGgBxQ0s34RJRBws+SJ9mJZKZVtvFx97l3m31DljTeuj+Jj8dDU7Ss3RJY9PEzp2x4C5c+s7R9P4syxWptqzbXmBcJwUkP5xvJGwUJ8Mk+diGcpAP8Gmfh+BOwM9kbcutX8lnv74ptORc8c0RgVSINXFaAV2nZNceWyGDBuqJ3uhuPF1Kg6jmVO9cRfUfynnAGEPQG/sAwq34xIKLRS2NoTAuELqTv5A5DBEqYdGA2JCmWxrYY4wemoHXEj4vWKzewBo9Hc/yW9KucPfg3Pb/Jpj0i3960k7XjavPIaG7jzH6/JLITEx/TnAwOwwOPLL7RoKCJtq8z27I7CJu4OzMDm3w5Z5OYAt1l9cY/Av78YPyqaPl/YqQA3yVqX7x0da0pC2q4ZRwYPd0r0+ei3XM1k8X8zQkq0o+zP+3qY6y8A2MFUwNo/TYTJ5OcxlMayMQm7WNQ/XLhBVkOwEFgqLd044mjDIXVJvLgbreGBZvx0xIYNNFFfaS0S9Vm5fr76rPrURncMKpkzVUzk8pi9+IXThkckbMgGDDhljdMklCJRYN8LBeXMng+gAI+B9GnqdGy6iMfsQJikszALQCo9Xxw2oCtiCFnE+xIA2ZnfsmER/0gpMECQ7PhRYn4ZPNeTf+vQbtjkn0MdR2m5Jm15xoAOLBd7ilLZr7e5DdTMfyXac+WkSCPHONg0z8LapdC893y8Dd9dTWAsR7Xjh/pN99n3iuF9EIfhQoLa3ro4QeqZfk/zyXkSxZfk5tgr9z9InltUqfl9BJAmkuZ3Ge/rNTOTZ7/arRsgX4IfKFlfT08+dRz7UCBEtTMPPWE9/2KV7BGxi9UqyIWB/rk8kwazOLyHrtD2j2dOwfkOfHl359J+/cg/XEIIMzWJGiyEHFLD7T4xFX0bxpMWbS7RvCsTbpp7ajm5ErqZBXBaBSbAIFaCe7zEjBk4kywezw1Dvm1+fftab6ocqu4mgMt0c9PNiW4MpCKkldQa+6rDxe2r5zKDJIknJOEZctq7lsz7Et+RRr3t17mKW95psr4pgy7xsH+tlSR5zdqAD4LdE+wZzumHwK8en6JETRpDDSDlBvuBFPz/tRerPl8xVpoz+88pEFFVuvwbtHuxROMBS3VUOgcmbFZpAKBu3/kDfx28BXq/1lK/FRt7SL9/F8WIBerC7Q4dLq37fW9UbAyaw2/7DsIXhiJz0bbqE5jiAIR6wwwt5OZohMrHGc7BDrFF55ry7oWkWYG7OOhtv4SK/9wug3PLAf4j2Z6XKCSo3IkqFlAKuJ2n8spIT42EN2XJKj54N3n3gkNcpSf8JstEkjwABjcAneeHR4Tb2f5vR6jq1YjLtcJTDFJOY1ecNl7rnOp6GFNykB3UvdMq6U6Qr4XVVjDdwjADCyoKe/TtenVwdvkCZ/cVZIAsIcOJP6y/D7VDLMCJ02lHtU7TR9DCMxg8aEaLyKmaRUEo8vboVWoJjD1TDv1dyX8XrAzYp6pk0YXFPvqndADs8lMUK6a+JrUVWEJyzYS9FY1s4L590vKkd2ZLdAPk65ZEyJT3bku46gvc8MlL5kPRrz9Wkz6TpmtO62nOOLKEA4Nh2CHkhAnkngW63lrjseqDpWGi/65qTfgaFGlCudkt5uwCOt36YWRqxGgyN8IHqTOe2Mi8V6L8EhO0wErzgdwUELpyA/obOdeGXLmKPo6sxGaVtm8TOKChlPyVvsYM8k02myZscZW2GeCCyxx2Q5BUeGZgeQNfzzBzThY16fTx9uifhmW/LNPslYlbFM3DSDWTOKeJaK4GXVm+mlLo46Z0gW/OcUCrwH4ntdq59XWqufkwSmfKxaBDuwZQhALniBSke9oWlgylPRO5jYIeczfo9S4t3kOE+KBAhXVam/NMEmyoHAT1WdjHdr/yay514NgV9ljBSL+3vxphCMdO1Wm7AQisMuZ1UKdcDV8UjtfjQVYtzyIShHmvRaAHIXpCEIrpW1ttbjw+CLITWd2J8rJOwGx/zFso91OdBjojTsSivVcIEMmNBViRkU/18DV64zZ2qgdCT1VWsi9JJqEAhJu+f9wZfrhN8RKGylcDiR5aGEen9fd8acaLEKMaPoTCM/2o3xw4mA5W8lNV3C2JlOm5hShxrWm/NUksR626zsx2FPlqC48ftvSMehiHfprnN5lF9pgNQ9XOyI4SVKNkfHN/IR8UTBcEV6BHThuXpyPlhkeoWM9tsc2lY9flhhJkHnDtE/G7PF8OIBwa0v2MqwTfhc4uBwnPNd7ZKCuNP0DduBCCh17ba/yHyuOYqPF2dMhDoIUwJZYSJcdkzaN/jeXI+KWGqTb7PnyI8e1N8gGzgeQe83WW+dikksKBIOcO5izaxbhp0nhxfutiqIO1OkSnVMIhawh8Sn5ReSmtMWD235kJO0bha6ycrK4ZXURpXo+hIe09DKIBvx44zDcLFkq0J5kksxm+tI8Q0EwLBeRVtN0r7P8l5ZIBg0n+hVkT5TitTDCIFKQDkKo4/RV4Eni37t8pDfhfGWtRHeE/wU9CIer1azW6LPx9EzwY4Do6KEB8aMfP8iYaqTqZPrf0J4z668dRGVe8cCvQXFlUd8xujD/5J0Ni//0DeadlLoa5JGsEUo+jppeE2LlK+22FZ47opvg1am/dn6Ow0N3mwsU85wJ9jl5nnjbzvhntJYeBh3pLeHy2UjBKVvToSurvWc6VksjJdTjQNz8vcehYfT6RtnD3Pf564KbMAuSLdpWjhvmzccFVO4YlwBgDUySY3s45lgka7kATlHGQLqB58XYDeUOBoZwEKZquidc+PgPOpH46pu4MSoy+V5oHfH7iI9o6mBAqbJZC3Z1km0ravur68JR5auJ2CNqodBtbyqwH5f3BDqOKf8JRiMyokNUceC5YKis6PXtREIy+PMXth+f9LTCYH8lo/jF92V0w0v7j5kK1Z2EVjs7L+T1tJeT8rvA9OB1SmahfSTsAvdzbP+QpzYMsxX0x8yJ8uGti465Eywg2wskzR2sKXqQ+E6kwxTr0ZL6Ah44AbaxArUvOU+1KVvDdfn0J0lRlEcpQEXC5aJZ5n37/zpvJdF5SfGxXHaSvbNutdefmDso7CCzt0ZgdD47pygH2W7pKkecJQ3OTIa9006WEb6Kgrtznv5zRi/3FpbVilbop4LCRY6vb4jTKiUekCDTawmfht21cWxSNc4C5/oM4Oyxv1Nd5UX6jOR4y1Fndfwwgxki2ZR8DxoBsd9WWPVMTlggarVWXW1AJYD1DT/E3ypg4ASEU2aATCoLKbm6YdrGt/Btn9UxXHLAbE9Q+6ruBY6jVMb/uVbv/l3aIwZjI/galfa9aeDRgz2fJ+pUqzPQvVBHYxIm1Eo0bTRuAKoLGXMOTCrGAA+54+03k92y7Y9bQvgelEZpiO7md6qbRXEbw8rKWB3bDnO3VO3LlyEBhOX1f+OFDKewa/xWOqYW3LftGhnSb5oKa03wnrfzbrifPj1KIa1hbg/t+Z7r55zbbNIPlYIWJzFL3CUvgqUJWrFDm0sj5wyLyRGih3IhErKbMp+9W5WspArslvruc8gIEqJmEoQwy9QILaxjI2+kMqBKDJ5uGmkLujyI5/fAqSBVtmNFYj4ze8ZLymkH2Ngg+PGBwER/5isL5GitOg7Fpu0behmHz1SIMgeEtDPKVG4dNFYoWPEad6J8+qcY/PE9321UUbw5aI8vyaxKoV2p002E4r60ncM1cOp6NwsNaVZo/iNZx6JNMdmOQu5TxEEK3nVgFVcZMbfUWh5IUp41COxYWuYTeonGyyzBsUmWA4OqtuyU8rXR5mvUKhh++mYTzkQazXU2VttyOMUyaMctf2fhcZCVPq5S/HZGKA9oPHU1moW2MnfUBA1Q1EYw38MsFtBF3SGnbHIdiQ3XkayMETKv9GFz/SOWpVwps+4ha5eDbqLC7boh4MbcZ3s3WPEVDUM+hncdMDguFBPMojUrCLsjIKS6JIEko1hGXs1fr+Cs746NXXi0gi1E5DNDGq2d3GFyipA2wZk4mdCQD7TT0Q3etg/UT2BuhXtecpOIM0AEHR8u+oUFsb1YIz7Tkgd65bDnjsoFFQWDcb4fcDwLSzSL2/nbqZaZV0yndo7tOoCHCpRHBDFSsF7+HL23lnhu6Rbi5jOmqojH06oWDy/A5jZ3IReg4bPiq0mAoElPDaP5OSB8mcZdAtOYj80iIGMsLDyByDSK9QUHeloFQMZE4Pw5pm0igvZb0cMp6unj3FTSgAhGljCDQKj3msEN9/t0ALY+u3KYG2Ir3J7ewRJhw9x1bxsqZIzmbfJMMRQtNNK1vB0o5rj8hu3YKJ5SdO+S7cwP8OY+PMR0FZoQ5uAr838Omhwx6M1dLCwMxxpee0JXZlaSC8Pw5SO2eQuKowJ2lsoyYMXtj0o7ZIxaMNIdULiyYOXQyUAeZtNgOHrzUWfas+9/mIgSLG/D6TFOQK/0/rRJ9kDa2vT+vngSPRRvCYpuP8f13uonaL2lBzQxHqdUer/82dhWOgL24SqjkT9NrT280BBiNl/oV3dwvBOa9MxMoJZfWYIQotR0f/5jh6sVUiaKsTx1hJfRj/rrJ4Sh0+WVs0joNA7M87VvH9OLJppReUQR0BMzpT/ds6VcSHIUSqZKiA5tONuAi/XB+lmxg+ahnTIa/02cv19bF1w+1jskp6E/cdfg7ktbqUG6BLvcSQFqdV2b8QBh+qYdcY6Gbpb5wlel6AhwZ73iOc3a4pjHDE288qEA8SMeLw15bTrsjbCnWy6pjRF50M2YUDQVj7B46UVypQ33Rz+YLWgtzMGTpc9+d/u1G2Pvli191UZcDkmDwnctTL/1DZkqo85OSKKM7slrXYWqwbqgSnA47CygO88gOr2PxXlxAASk40oYV6ByRussujqaAzkIgqib/XNjqizaCZm/XLulgPUccyT1/4xdLPJOSCAxLZs6cTfQDXuuVjed//Nr94wRJWVtStfGQjToNDOlNBOLH5+NfoXefV9IbaGPdH+av1s9DaJhnAZv2CD9NzXIX/QnKkQBuskaGUUXpnzArWF53CxSPWzxZVeP5v8ExZTGaejoZw3epiEHLNAp8Xy8snEqg3lPCKxAONCtfkItpW9+0t0YxDv4wqgFItgo0cw6yvAoJ3UjZnafb3O9LUrdAxnXEBF3ZKvY5OEfswCjaKoDQlbRCNBoriwUlZ3xsvbuiE6TISJS1kuahSyFkq1SE8Tjo/w7yWapjOMpcsPgkBmoXmV2WgrdWgjlzTPypj3VXBZuSm72/wm8pvfAeZi60xppt58Ul88bGoYRB4mISRXKSBfHhcs9AB4kifbR1dbmkYiTCRzAuOu5672ycMGJ+YQ6a5YorenP1qDyDFBaDdEo+6xJ9/9ovt0mfDtw0ixT26e+K2iue3EVfuS5raTcz/KSgj2mjk0lenxTKXcT3awJDs6tA65HZ30Lgsvh0Nlph61WbEFgUHWZkbz7FSrul+eLnZCVhmMJIvwAtvx9xUAMfQfFb62F0lPelEj+eQNMRIHLCBS9hE8oixbX0f/xXHH+WC2MciIfQqMnGTVxw0j6/kAv+CudGx4sClIvYNm7txuiIUf+UCOn3qzwCDeoNLtLgK1wltqP9kHwamcxMf/hiIduzeKDQ1mv/IfK8JLKeA8JIiEKoxjnzbGWpUozAcBFBYHJ+1wWrRIbFLw29QccLqYIxwELM4suFrT/ZULIzjpQTrsJhjtk4FlE48ZXrCT2V8rGJabC0y8Xrh1xtskM2wlqD5zBFXM0DWGOlmjtzrf3ARvK71fOiVERQEaGr3oY3wZrB5Vci3AzccZs8/B+nTrwKfWXbO0+SXa89FwFWkMv1u6LIK2h+MkZXT3jsf9Yhix+mlgu8qW6/Ee0GibnXkSX3jjup4RQRQRQ0IEJ8Zr37a0IcVW/AAum/vWElrSxGCNfS+zeUa5GzBsWBRl0jviffBgJkNMUPlsclbFJIwRjgRfIyplVPYikbDOaCdP8HsGYbHbI+DuHiIvc1EXVAng9WJFMkcuHVIB6eLxIqckcg04uLTREMlKLyQf1mLG4/H0lEQrVO08AxuQjBuOtK2EwrH2fo73Xa5VH6MbZ5Rp2cKuDCfXyitIhnnv8dsf/cBVMpNW/0Ctm4kNsLUNu2w96WAKwypVai2b/4mD9dpW0WfKtQ+4lAKDXtMNkrpDqCyWjHbj22Qswbj1GTqTAoDnSXMBnzVR4VdjUNsxKJ0WjQUEWMGHarB3gxbek4190xLw0N5Iot+Vj0UzTCF+wywUicbfIZ65cQ3Wd8RMJ02YQP276DT2Z7Pf6pVm39K0KvLOXgDte1v+yYriVwt089IgxgFjIf858uc7ULcmv7ceSPCeC83qNZ9Grri2nOyicgfDT3q9vaPr304Ed4MhsXgo3IAJyAVrXHEJNzLhofsiBOYr9c8+3yFLK2Q8RmSmsyekDRvUz4fMvJLdCWJpOwogUsVgPvWDo3VK2296Nm8VnvDSCe8bnHgeD4qXtSXN+TPUO28W+K1B9KMfqIZdl7GaPXKv6byuY+ZyQxQB9Q2oRLm+doqvpq7ZLDtEp26JJgdIPf0mb/aUM7J9wJQx2B3vW83oLVGSKHxtR45D6lKRgI5n6fQHDgXTdjn/V8lpX27r0fnLG3TCLP4dIokKrKD5fnzFj9VAywS+s7iO+0QtYgATzFvJSq/V+FCjSyp1zZSecWLOCtBH056JipQL+EhYZxXblJzu1B2hvXnLhxg51FtJKWDMqezAJHHh26y7J9sXWfzAofU0Cr2l2FccNgDmXhEahD3km0XxEhtjbnxnKk4MlHHzXassqh1H2UCnuyBve/Eey7+HpMRfsTFgwfiR2CoTWd3gpX6BgOWwxUVtAhkWHU9lwKsCZtD7HqgoGHgyX0+XaOw1oIwV7sBzUW9iUdp8x85+7p9eD6LvJS4F+YYWw6of4awhT7bd5YQfnNczrjC+NqB3u0fb0jY0GYFdA5Pp8y5Dg7FKeG5zVMZyN7OxqfdBEpDEfJq7cRvgK2eIPDHo40naq39qB9PPF3rR9/PsoqPPDNWnrRWz1WzfbWk7CZQbHrbMYgIj6cOhHi6Qu3PcaQBtXq6rwvWdLYokk0Poh/1VjqjOkBSncXudip/NpQw7CeXpIl85DoaqH9aYSE3tiGwPcskwcbVHTQrgHKjNRfIDg3kUJPlPVZz8SHYEAIxa7tzzbFq0B7qZ+Qz1Xoh5jEA4G03+oPVAq32kLx/fnFxQu1zw00StYZV4NEnr6Os1xLeu5U7x7gr4urs8SiBmRxJDPLs38RjTCVMZI8lTIUhU9Le+WondPUwWDXOdT9NV40nh+eAd73gZvAn+4MPxc2V9sbBha85GWHqVVxV9xIlNT1rQhCtqGpT4u66HpUkj/KnqfmZ7HHtRbZExGCkU6fdmMLM625rahM+5yKgWSy1IkjYMdFO1KyDLXkhzwc2QfsB600hD7oNfw16+LIZ8dIaDAZI5NR8V+UnccLHUmd32kqnzFuh+iE3xP/ThvQEWz7XcvYFXtqnsUUJvGNx2jwTqImTvfEADHHYUIrdIWEpTySg0RkRAuIrpI54cqNdbQF9peZifasx3DM+znrkwu6TKliSUSR2aaJdBIMYLC/19KwEY3wmethhnMPi8vXfB/e/Iybf70lHp701qjwAChjLaiOK38HGwsuh7ben732K4pHhnIdK4TjJXs4o2MiUsAbrwr8a/vP/yfXjO2CWs9OJOjoyfMKgmIElkcebkV+eYkXea82xQgAA9KSJVgGHkkguNfH3rA5S/MMo5fkeTvyvPW3HVDbmiLlgZUyBiQvGftFjCxnw0zZqrdGL9WftRxzHs9g/S6AT0DejHaR7n/g4tPq62HybT42if8iYvyP6AoeWSaaUzTaiQ/4eX+67+U79eVyI8taQqwNQ09loWo12KC3hIzjHjlPg9u7Jl6aCVTSrFbQIVBX7w3jz6XTvANsd8TEdMhCGAk18wG0HOZABy1MfrVNtpmGtLhRn+17weL04Xoa6Exw3UGo6KL82yirm+6nzyDSvsdbQo6CB1424NBXO242mLYaLdzolsXLVm7FXKaJnNv1wQo/GhckA4Vv9fJCCNiu3j8fnortCu4WXZjBRqooANNmlWVqO4Eum9/I2nDfk9na2Oxo652A/v7UCnmJ9QR6xqnsksuzJITfgCoLB87THkKF5BjpmtxR59/Aa7Rcguphc1UzC0SItcJcVzLYcRr8uv/d4i4I5EiUV7FaK/dSZD5NkyM+spBmB5fAjxucP+bF1GmoIuvQiKRauVHJLthdz5kVAJEGoTVVGPyxAaBLa+OONpi14WLUlK7yBuE9BN+pI8Ffm2/gOES1e8CW/pdr3sTKuh1R8TIpzyuoxsaYnYDWFG7PMfqJ5B0k3hWMjXEAKWHiV17QXzMyDxa0FIvpdaNNN1Aclz984MUHHeWAotWw6DdboHTjpRF7UUTtZSHVw5oqsJwEeoK9yWTCRZyCx8vYHc6qsuFF+Emnv4MBiWrPimSLUxB9GHRb7ZAyj4Y7jSEBE+SbeKHYOB9QddimwsYlUr8TTFd8Zp3wawjxCECV2juCKto4/1wqSrQB3E2Q8E2oK6Zf7XZqDrLT34mC7Ni5EokwEgSJhgQlxBkHgX4kX8xRkA9lEavXZpud1ffuRo8Eb6O7WIhM0fFpwh/KhcMfFKTSRzDrDG+AFkeaOPrqGnNFZ38yJp6kD8PB9vtCW5sjPrp/ujOH4V/tcFLB5dBe1GLLmU2veFD8JRQCl27BZcNlxMO0Yzg3tBr1Ht/MZ/oYoWy+yyO/D7X9TeWVmE2aZYlJpLLLB+CrK1UdVUATLWvwYNws8B+5k6ZyN3+rp/lNRS+lXqSJp4vKTW09SxhAUjeBaP4ndRzUXJPrGmwc8r55EYhiWjZ48nyU+W47kxu9s+G5GYFD2hM1wIeLXIvZ96DB1N7ZDeX5dkaJia2XlzNXLqBR9h4/a4j/GLYUsiAodC3KJFrcbwlKXaBMYOW+s8vWSiHraUmOhQgiCWVB8vMvI6bjM21C14Td53qXa/ZfWuyHRUbyS7mw8aPiAsD7u96oy0Fuk4DSjF5nAk9c0PmNEMvzJ9iAnFQuq/llm/8/2tgWpUbr8a9vnXF+BDGdEMsPQ135kr9KodiBxwpivgjwI8qFfmshZ4S/BkTUchq2/5qqnD6JQsF0Wrhk+i/NsJmjhoXItzbiE9XaGtvFruLGzG06Oxh0jpoCBkfEd4TDbJU5/Al5ZX4KWsBo2MR6H1nL6Q+LHSvgdBPjHBWetqozhNogtEc5OQZPZ0eB0FI4MCcKjGVsMcBVj7IjObEBMYqO/EDS2OTs/QRTSrQbeKhK4RE9TgCtWZ2OQqzyfU/VRHy5f154yB3eRJ0kErI/S4ExnXgoHOk5D+WuspY/HbrlIgQJ4+/BinnYZO05ic+k5n+ykBUkhcxm9FouIF7tjsJVNPcqphsnS2J95GM1rf0VwR650obkMLnSg3B8pESZY2gJbk9PnIvJlw0baRLAeiUtLQZxMG3cFtgPpQPRxHGxNnBI3EGdt5TpT8gErFS19fzmQUB0UI+q3p/+Xx142+dVhiNii4tsl1Px9mEW4MkxD59Gfxl6qruc3au+z6KJHxLAvmtaWjDX3uWV6M5pft5ERBhjnBCnzISn2ig9WRFJZ7yZTLbedDfeD+ZDPgDCv2USyCiL6VL3drlqYGq8xhpwbCOqfDyRBXKrwVwpcNiOJUUAmsCN/3g6TYi+VXw1H0nVsNoORm9xCxVEpvlbupm3AP7hqs8/QufsVKOqL+xMv0FXSJ+iYImDxdq+sZLNKu1l9kzZV01LnskJxkvvjBC96vtViL9enjK7WcQ464GM584PY9AMOXQQc7y/A46ISnAvfBpluD5OmOq4w9kJCFLSXfaLYY3wWF1/gNlnWU2U5EVhjIzzsrd95p0VfCGezdNAfya8gkOlxV0cdAFYON3JuKR2Jd67L1ItUtAmvugh3Cy0wR52k5fOG9UMrK4lis5rSHgnDULAr79psGD0iY00XEQMNBVh5QvJGr4xy89ls6qSAvw8AJaruGxt5vMH/+5/mvuNabgFKQyoCuKX+lW0g+w1iZCokLE7jcOiXoEATXnfLTD6Ga7pyN7jDLtlE8MyywD5CxbQPXWGIcCo1qLgh2gJbhFdnsr3qryPhG761HjIMZXIMdK1gJBOGcYIxyyZOKQBKlbgu3cnbEHPyRPnqeeh3cpwgoXgN9LvBnnKQVOJnIIAQUyx1wFYQ3U2UrENv0YLcMr5ajh44MJfPdIfRqc8djocI+xh9DDxaNEDkeFHYKl5d1WvTZzdyu0nUnH/J63lGSAkVChB+bRalZ5jeOE2PLXB2hvSWEolVwbCCZwvgwN3Wzj8sYHVTuri3R7DKdJ2MGXwvfxucuq2rX9InYwml9DxDJfVKY3wiyNDYuxQoEcArWOqZ1YWRJVbmDy+PASmBbpTCnheKvMzbJlZOXkZV0ORduSHOrbzXIp35pUFvRfSkG0/b0nLcd1UvlDufxaivMYDUVdXH1Afprgvk/JqKzogsik0DjaPMLT0hGgFxqpHeaZnheoeCi36CgazPY98W9ZGEik1iJ4p0Rs10ybGezJocp64y91dpbT3eOfhd+Pfr8V9osPUxjfPLXDgc/Ve+NQ7k9+91sy02RURdUADS/9n8hx+HRDyVyBxeSkDlsx97ON+IlLCLEoGT4VP3tfQ5Em08p1F3ZRoVTLnF3+rQ3ym7LzhQFQhCWtCGyVe27CTxSwVjIV5lUl/Ho7bxLpk+ZIxE1tuEEJmKqeRI9Lp1NCsPQ0MqFdbeStsYzfHp2tSMEBmz5BV+kFrImlywVmKeLDmp+f38BLIOV04UmTfV6oPPOV2UrDwQHBatrgBk/yGwAoTiB3iEcNJC9ZsFP9LvINrbfSIsz3T+ITAeHKMsFUyH1q2JQILXNQc5v2PUThxb2+or/1gXitvdSKiDVSZ8ide/Th6nr55rgUPpEZCt5bHPgMOAejHh0jj9t7bJuejOT5OplhnBB8DByz+5PgVxRryGNLAu/IbS9Mkj1MqNn3yrYkrktbaM4JEOJqrImC/Tk2S/C9FDQ9hmtjxvSxJNUswTsX+JVALsZx7mfdvp4iSmNndcc8c3Kuoi3CEeplsEXnUZC9l8aFyuxkzK9IdYsrG90AX0k+Q5yFeCK1mpeC2iGxFRLKy6lptq/VwJeychdTx0WdN4P0Ils9Oegv8WZNKV36X9huRPipA3BPvpC4aY1S9gLUW224psx1zrBcpk5beUSmwKKwdrAxVpcXHRPusTP9j7hKCcAha0DYvXdHqetHRz6z2yzkQeKbN6GQzdGqbE3mygQ4ZIQKKuxnFwOjoEzQ0ge5w5GbcnnA/sBTNzGJj58SjanwCQBXqQlqAOBoMI9nHTRfZe9i5IkrMHx9J1+ei+C6R/2eVPsQDxMAwJWE5Vy9KNtfDnm2K9P+NJd0xHvZ3LQxHWD9pVx34zDzMeLGbw0D1qBl1YCpbY4+8bc2Mzs3VHxUg4kll4SBQfGc90xn2cLds2DNCOWprdGjtYTnhGByOUliH0aVEna3VJ46FUIOBuw6zyoUk1sj774xWIv8KOiFj/75AV4AFSAtwKs8QhG+y+18TFbE1ThtXVFGKpyrKpg+/dBY6OrVPwhwYnR1g0pqmUPmNq4pt7bihpqjrjsZycshMUeoMAyLoCyZjHmOLfOOhv4QUwBim8eowqhBzpDsWTdbiAs25uIkib/1XB2I423mYH7cPbXSSdW64oC1Qx43pnmbgRAWWnUyDv+nJFN5UEyA0pdQ5Jk31mdYOxNu+qY2Nria0fhbCh677QazZPDxt/dU2tPAVpwhXGcTzJlA1q3kqTDbimO7dbHcYesfDXwSicY6cp5HbuqdJg69AWWjqHe4pNEdXc6m+wk3pPI1q0+GPgVvFjbDhNNOcgOhFg2UCRtLorB8lI41CMbs3fynIZf7We1NtQYxyRSupkxwUQbr//+fMPJ/lzvkEy0ieqeFNz8a2XdnoHZ8P49J0eALwsFAkV/uFnEsz7G0xxp6dhUMb8msOKmVpIOhsBpPb/IWeXGb9NGBb+ytjtglDbx9nxGKbcwK0LiNmPnJ4+t4slDl4HfKjBC/EO41/m9ISuZbdLXJZ+jc/barf+91Mc9/UUoF67B6M5JAUtMC0UvOfWnnRq1dlCk+YOH/Bw/oOMjGnSiL5gaVd2sj+a9AVlfP+ITPvPg1xQau4a1t46WRzt4mhVzmWNtKv8p2fdYbZhpHBMk1A5I0q/niR6Kku9tGf5zVnByp/3e1a3dqhAVmfI3wX154vy21RuR5n1UOw7GnY9gdUNafe1IZsi98cZS6yYc6zio5t/HvVj1FSjh501RoYwu9J0bT1FYj2SXZxGFVtl9b5a9qG7BFOHuShaIVtatfqWpC39mlABof3QzFBXlpBsKxAe/HEdHkZn7Adq6WQdSSiTGyU3WmBEly8nmK9t2tf2WgtleuTKnED7YULICUwkPI0mvAf3jkpPgG0bglRpWTd/Pe5YwTxi1tgj5ure6+CoQ3lHEAFyZvqsiyLrbRAxP9ls77zAQ3m8VukPAq8m8/Tmn6dhUZXbeWePEyy+IPbnYyvosk4ORpjNcpNUuMFJlaaxvBs3SeYHdVOV+vHwI0yjWsxWhaZqDhs/0WHqOv73gZGV1K4zJwZvK7a2Fyv5OToP36ddrx1E0BwbAItm8e3n6JEkLmOH0jfcY4lLmLsWTwpA9OIsfe6/gjrN7bxUFky4FrJgQSVFaLwk+1QRvhVUpIoNlrEptzXdEPN5Iqy50xQFHy37LRzOUJ5hL5T0HCF9i2DAgvTREUxxmGjDIPqffSFc/GNXsesBri1eYyVdwrg04Yq3jqN2rM4PMAackLMkqA6ZCYtRkUXOzUp95NqCD9sNVYSHJGrK33wWdy0KrJb4RQ5mocRIGF7jT0zaHIXpGA1DWoG1zkmu3X7kiDQJ46mewX03gZejaevyqG4TmoeYGNwiM7QJxFrzK3h9ikuNVLiMjzOR4qkkNs8s2m9S7o2F3h3kk/KZu9939DnOczpHBTEIZVB+bzuEezMiDAI44p1oRMUS9aOmtnfyQQl8RFKPedxDk3+snuQTMSqyzHfg+d2/yZLLQetQqIFOlgKejIW2DrfddtF0xPqAuuq5oPfzXxeipO5hi2q5Vd+h1uQAda6S0bzJjY/4eykIGvOE62XxoAOBtp8N3fxjKDzqiCzBMdPE11+iFdwtnVrQHhI3LkSOuq/GStOJfG+RtJORyutygYiO/LAYPQa8tZs3/nDURhAg8MGWRXlwGkgVGfoc0waJCNgadrSzsBY3d3fVfLldJpleWAt4mXBrKiq8ju2bFsZ68oFhMvO3g/HPkXUBcpQB6M3OT1/OtBmUjNJyac02lbuqkPEeiv9nBjtrFyHtVOBVqnNPoPdsHLH6JEqUPjOJvaarxoDi9m55EMmC2/VaSMOEvbKWnH8/+6pwdLqshmE4OTyRf5p3n6v3cTN8UIc3NWEzr+nYJrSf0PQJujTBx0uWra297WbhpIMJrBESPAM3ZBjTMZoR+D3mh/kgbTaioKWOW1XlHvJvrbpeHxUARQSbIEVJDDQWlazGPoB3864UFm9P/H5dO1t0+i/pLOwTS8TudVDe5jUnATLBJH7dVOpPfcXuD0DhXHJz7QRf8fPZYkTB6/bTQLnROSDGXIN/5qW0fZM56u1RJzGZrIeDDsgezvtyWMdidRP8gyiQk7BI+qE5b9RfuDN596b8H80kN5+kOG3vN8F54iZHcjAbgfVYe48d5dDx21fYs4tXGrbN1FQ1BI40kwLuTm1IkxGqX4GqMLxt36YheuTVnyuy9ouwxrDZHk39f4uigUgUXPm5yxWXrgWiBl8eslyPT/4a5WRvveOjw5X+GMww+y0XAU3CH9XeMR8c9b2ILMD/nhr3+Y6NgsoqQ0O5mJlRZFpHdIbapFLR1fT9tvdNZ61YowsjRxtPtEeWLy2Maek74AxvjpYX4l4MzNOktDYfi7XVwyWA0gEpv0NDjO6ztaYNUmV6jzLaP3UxUhyL+vYWrd4KLdlpS9PHheQbmMAmTJx/29tqIW6HoSAFD90GvboxuCHD3CKn5OMVDWXh+Hc2WQcWmbFAWnJWVzMyYxtKqEDG2ONoyEz9/eS9p+AmFkGBJnO/GV+kDPJdmva4svcFEkkAEgYz3hNWpi7x65iOhZ/bcMmTDYG3eDvy7kHB9qHF5KloPsOoCHnTDVI09v9TsJCm0c6T0TvzUpFU/aSd++i9/IXmm7nuZAs/teZ1pYeoAwFW2jnZ98kP8xayUHzyETrX8w+mU82pp3q1AGEykU5a+rIIVPCzwBQMGuPjTqS3CqhCRL3DCV2gtGeY4FSDKBC/WRgDG7cplvmG30UCXX4ko5yXol/JCE8mwgVYsP0qpuosAlq4WrrZKiNAwSDWrL7BG3hk9aNyzhudDJGUHKuZZ8Z+2o/tXexSMYDFIm7821JwpE59ECPozV86T+HUGVpwHOi4hFkgDaM5WD0HEZYAPCDCN81QI6RjNVWGKlSsxS79tgF4uui0D5GgOiyV33djcVTCEcA3wUjB247NzVw5xLCKU5S0mCCTPxoVsXu4JDR9xghRc5GefYNp8vgsapFW5BBdFYU3hEmgW7RFucXqpXYA+Fet8UKjkM71a8Dr8OrwsRLfV9hjtm72wbeDT5zTzbbYSjA2mycFkbgo0ENaDSCNWPr/OlUC7HVQYDAzc1uuP6tQ+ePiVqKryIh5mjvn4iuSQXfg6rp+PzqQvSjq39mcQoxVwVIvvLMgTGkBZwoAG3dijzRYLUJdSuxN+MpINVPSNsb09fQl6SBZqd20P34YdwlPQhaMKTf3Zl5KyhjQfrsDoMZ6J2hgQSZdxaL3QbBa4qhgg2SB7yHvwiTY8lsB0ATGoYk77VI0MCoFCECtRsgvqVQloM2coglroxqM6pxAz/Exruf6tkLTC8ZCJwDL1uc06MfwxMi4pu0mMjtgtvEfWWMoJCPMcUYKMsK3PJup8NxX1i9z9pSB9S9qsWXuzL7h1fgfnhfvJNVKXGT+jp5h8YIcSHo8zCKml5ksYvVm+7EpZLx2ofOWvGaGqDDmOVvOpKigbcs1aXNpF/ETu9NUpEcsiBoOoG/e1g7cCbUnVAdzq3CI4IUaYi1Wnb9K/7dWRL/qkGABm5WsCCFm4dBdxNd/BXk+GUmZO8mlMYE+KymBd2vRVQ/jTS9N7bUT6CwUwLbJSkPVvxM+xf6uSJdN1QrzZJI8T/gBWjfrifts9OfdKdkRvsQVSUcnBsVgC50UO76KYA+vlOgjyhk46vGwu1bkFeDgicng05jL4Hz5utnZ+sxgGE/GCqRjG/r9xMn4m9tIdrlP5PrN5juQBrvgGEkkLpco4wE2mxtM6INXZ8g7JU3+JAlChFJcJ+TmobBp7vseE0c42K53SPtca4DH/heS6TW7Lt4L+Mi4aTpQ1a4HcSmG9npnx/uS2opGjO7MZLXAT0HouWrj72LaN7fy8adP7TjbeT6aCQNI+p34dGxkZrHP6pxWx6L5nPQNr2YWdgrJbTV0xdU4Ib9uL9vjpgDBg1ea6IKbwzFfAif45wdHcrCe15HVeH2wGr/HFuqAOkglwu0codNyAbG3/ALeXoaesb/xzQB6u5WGobWMETlUF0V91LRolOZFXriT2raOWlrtnxUKGfjHoi9qQHPITkabuhn7UDwyXbW9R5d2r4YyMnkEzBhqLPqgFy9phPFjB2WSifAQZBrj9N2U4fjDmxdhPat68q4a6z+55kp1YzroGIsRFOIB61C7VFKMAUP4UZSOzd42yFHUzY5BbhXh+iv7l9fquej0KQEZxpqjoqfZOozmmbIpJjLvJXHL8kymEa7j45kEPBu1QRnziUJ8DAiqsgJ8LMdJpqpWoKsUW6H/Kjh7MyVci1og3ZMDw5b4GlM3fCH711EepkUOLqCqaGiWUULNzWc67sudMUw05OPYWY5G8UTP1V4bJKxMIM6M/abFdnLcH419VOxD9nmw3Lk3Xyvcw56RjTNJgdKjIx9NjjU82Lk3V8Y+aCQQLEU3Ly296Sd9rR9S0kE77QubokJ/05M+uAsXHBRYPD4892A8LvwkJiAVP3LRy8csWtlGYpCnd/jjF/jGJ++7maSyp/NgajmSIFRNnKWYKWG03KDTm1RKHEV/ixiQyBkrZyglDzH7Z/a/BLk+XMFPQ4/qV135ErUUv+4Nc7/TyVgtJj5kGW6ZX2FAtb30jmSIPx/D0/308vFo4Pe/uNhJTZpROV13WahxGqZvZ/15HE0p51wCUsc+hPaHOWeZlj61d41yoFffBJ8x7ew3rfbrFOkfQgB1hQ8su31eqVEpVDk9j+u7NROXrgAKHHD7iHMMAGlNqHbx8kzRmIFp8uHIMOrgrffUSzZvps3He9IKqfbhhRvALMlw+l040zZnYzfDKR+om/yy4+9xBcCGuvo/eoYw8by14BpbvnJ69Re7+If0eoyTVBAMMVDCIAFAfPfSAuFupdr39klM13d1a5ymVAYkIhOVSxYItBR6fLfsCbbzcVSivGWDpzc4lBtrfqtSwHHxfuEBe3ttg6FAqnf5KwdTH60mbRCdeqokBd0mnxtSyV6MVcEIUGDXAlcSPXbZOFh74dxY/nM0928ujJZpP4EUunOGRuN1tnfoMWjZYH91mjhFIfn45lZOsX2YteXpfpofdCvI/X9oeyUwwrjLAa3qGsxD0j7pqeF+fvLdpPfmXcrAbwn+wIjx5kiX28uH7t6aYWtsRPhVWGy6ZNdt76wF1kwDZsc+ICw73oKKM+JgE2F/Jo9jVyE7n3mo70c0lUg6ciCGWH+mZHk4z3aJ4M7jS6JM23ZbfW1k0AdLQEIi0roZxh+2HzhDT+9oSibwTMeDOjRK2oLYKweXmU+flEUOj6OIutpfwwr+XrbI4crUX7XeM45Mw8W7dkWsjtX1nkYIOYm1Sc3iOZo4mEgjz2K3MidrZZzuOM2afD0YVMFWlyZwHm0suZFAG1YHjS19KKmSDIGVC8UKZlNbnvuXsQLM9VYJMOBjdzq3aNx4+sTpXvJkYmRst0AmqrGDR5yAmxaa9qCKK3IR1ombu7hGEUfuqjGtW+2KDfi23H6nmfJyHO8h7yeZAIHo6h+Xqrf1y/p0CnC1uwsEi+z2hiSFCfShpu2waL4vQC4BQMEBzrL37ySCfKdt1EbDBaH40KvFr5ZDFlhngGqpOUKobmyMPLpbTKZ1vdc3fRCUDsns4/+S+4JE6KacuTDu6I1r02sYLGqLKtQJISs0XNmvONgiWPdfFMlXRCF5zvrzkNGW5fpdHNZrlaW3bKp3Jbao2v8dCsnDfZw5k8BE0aLaq25T28VbIwHw1eH62BtKdXjbQmXPlx5w+SnvTJKRBW1jMlJ8pd11cK77kMeMX6o0MftsFla+jxYADlI16vO6qIDJXwU4O6OB9BifPPM70/cVdkKvBgv8fnh7HSBR+16UZ4oAH2jhhVl3+RWK3jZHZXdE/pdoCC3bAYd3RUp7Vio/5WrFLPwHGgsGKN+NqZQz6ybmotg4J7qlKYMinMXMuhOHnNLuz+SltAS+HD34GhleuvpO3nhmbsBNLITzKq1/44Ab9BWx1gBvnxt8LkGp5iIm7yvS2Z/mMaeC6DxQzj5yWct/Q4JZH8HVHYCigKl+xUArGQPApXYYYARqNMgyzcNn5KFZEoWKQ+BzxygnaT28fZjDmZvcPQ6Zb7WSna8YnRJ6q90pfyIyzd2YwXNH+jtcY2oabH2/SQZ78RgZGgSSd1n/mrBEF+/Qjx8XuJSlBtFZur4SBjjqs7M3tw6wXr8BZZry9PmwmAipoSkS+WEW76MlB26fI7rI6asunYhz9HNNDX1IM1W/7Jm75ddgGt/y8VHvjEA5A1eZZe3Rorkfbp3ktySsmsuRzmfsuqRvBwIMKck4QG+QxZhuq2HRiMQWMYQUdd/yJvR7GPTQh5BFbVZ5WajfWMOgYj4C2nox5Iu6X7Ra+CYiJKsAhEPvnPPjT9bhEfkoegz7djc7Oyl/92vk+5oAlfvs19pOBArfBPqw5Xt2rduTEJvHhPpueX5fi957bzI8pCvybfBjrF8F6wb66dHApmHz08dw0DOTC14A+Qh6mUS3BQImh1vADQo3FvRZnhfiZzxg62b19qH3D//2Qduv8LEzhh5je9fMEJ1mD+TdR21nVr2L+gi4LpC5HcHowyJ38QK1yFGLonUXP+vo3pd3Lha58zqOl2OsG/iwe2dFeHOkPgcuwhlUlxmHmTvCNf6hFBcqgSIwWebDr74mbQVR427MIG4Yq1TnWuWUa8kmgEPZhPb5QWj8B0v4RSP788JsN6A0WC3B0qUl4ZZ7EqLQ3YF/ztwfQKxTgVhCPmKO322WDW7VpU1WdKGUcfM/dGbh3/S/BxFwQKhK+Vn5JZknQfhW8Bk2yz+G89puCE6mOSTly9Xt7mgYxltYXRj+tf7j/z0Z56pVMzbJSOeA1Tbbc2/nERM/AORSE8LmcHYrs7BMt3V4yZifnfnXfIXXC+WNjFXDjmo0WOGwIC6lLhxXd1AUKBnf8gB5Ndi+SQhkE+L5skB98cHbZ1WT2tFdXOlVs8xRyQ0spIUH0P/V0QsQ0RgzdtiCRDORT2Zf1fBJEHuVIBTN9Cz6nYvTdgBeWNhMgG4g31Y5X4v9wWzUyQLYpVTA/Cn+M3l4O2fDGjvgURidXcLX4BnzGzlpe8ZqlGmkMaWGYUTttSzjgBW13gU1G9pg+/mkC77cirm0fJUbdR2lT2uao7end63vjON0MJpAwzPyle20k5R6Cb7DCV4Jlca6UeGaZrewm/jSef2zknIyFUN5ANVQ8GmqTJUvnbp87tcGlgd2Rgwwesgj1Lt6crPDWtAdFzQ1iFyWQSqq9dYcSVxXBj9oOFDUBfbKNrevsBZi40zZBOqK4HIM4s+Eq4smEpmBWCUyEGsn/H6wj7oLx5hVZabkhF/wd9pCk+0I2nX2H5xaM6IGxShszuebwekdTKg2iXu4v3Gy8P5qfEyom4+075MR2H9nKYnmoKqvhlpZf86MM7UA6w6y/imyVvC6iKvVt4TONt/sF1cDQD1GaUBph4g6sgAZp9GCZYR3e8q4nNdsa+lexXJY/I7JFwckkbzCHxa9pZ2jEZDmmIldFt9A9QxBJYr0+x24X9a5Lw9AGTOf6yYiXwhSAGSaBDwXCA5pBpNM5YUlDhaF+vlIKavZ251Aws3Hw1qOHjfogpQgQ7Bk+MLKXyZAiUztc1Ca40M24/gvrnCqUCPVbB8i4ITeCEtbBn3enc2M3+enYxMN/F3sRZLTrzx+UQFV/YDjSJnXCBiYf/5yVJL9y5Xu2pUYdYZzjTroo4eRkIvU3pCHBgnTAS+POq6pUnSDvLJ8dM01ScZEK8kRD2/6KBzbu5m/drsMMK7DAdQnGsba6xcIfpB6ruJ9c4+wqfkBDc2aM/v2X8EacV9ykeFXEVKcwSg8axMooBZ7pfTnFBL97gu/ATwOUHtBt/lvENLywI/8vPwVai7jzMDTsmRNfVgpxoc3hxahaGUWoeKZ84oCN/6wPS2kl7hkZ/dMXKQowyp0+kXXl2WoMueYdBMlHQ7YwHhm79g/oKQkb99ky4FgJVzlgTz2Gu4VU4h013x4WHeItL5bPC52rmvAgledc+CbzXwpCk2NGW1D+19zn8wFh3ty0/sY7IiNgXHQitr5FhmtXxxfVOpo7hK72Y5MA/Yiz9E+KGexy9tbw91SkWNDpECK3CJy807keUu5/9J8EZPCRWhNjXlX6zEcKT+oxMLeXNO28aJvjPQcoqzMg28BZ6CskGP7xryO69Cbvcq/+Y+ShQG/olnciWnVFFk+XkA900BBQciybK6o/yrajyJXiaVDJ8gV4qRszTGU06V7iZIPK/aNf5sWYIzHxzeo+2a0VQJnNRPS7Jki/jxPzTm6h2T3rImzSnqshbH1UjUJRweK6gigYgxn/mOvbjykL+laTej+zP+UquuPwgPGZTUHYJk1gfOlAVBrkRgJG0vngnhT2QsUa7MqqQlSjpqZ0fZBkrGQj2q1Gqa0AlFRMK+i+/J97WKz4cMesPJlOjmIpB5UxLDykbpRpyPJCbQvo89B6tCD97nzbAv6LF8znVPov8QskN3wBCZkrDzNZjQ/aZywWRiVblmjuhf/VkczG99Hmum3pgy1UvXxg0Btng0tQnXJc8+cDEdhcIcqD3aRbBvv3kkynAOKmsSa1rINtReeZ+iPN9pswJy6DLNUWLMRtOukXcFKhv7ZTJINa46RQ8TNcIbI7zzrL/yTIA3S7mL9Vf/HWI0lHaDbDJL976qol+azAxVNe/ywoJtHBKEVnCLpoWTnkX1U8ahYc2ZLhnrkm8fjq0NULB3l6BDB7uLpZ+T5DouMcV3nrDKBbIuxvZro64pXc1f6OdR6C4B+pOIDB9IBB1Kf5y2az+qeDubnUc7g8cXkSBElp8fNI06SxE+i0PI8wIapJRvR5DurxN5lRIrf1knFUcca0Zxak/PHh0mmaHzYRTsXUpy6b1RbwRRyu1/Wi3ApwOHtpkLQ/JTKdGno7rUci3Z4e6v3+/K4qiL42tG4i+lVkvV9fnfcqxUvjUZDifa0WaKEKHCIlnZC2iE4/JERM6tItLFT+R7KUIEywqtq28af0FqN6zDSvreRQkd1aT3xqk+W7i80vl7wXh8GAHTtVnfkLk6gzBPCzavBTrY3Wh8BSGFRr/OKQFAh7l9D3nwpz+K2Sy1L8/R4KbLdtHKbCMZyxR4qH1w7VZwJ0Hq9k6OKlKIkd6H+mGQg4SytwBKSH2Ib4P+s7ZBXNzHnd7pFpPkdeU0qyAbSZBPbk7K7tUJY05eUvadGN8kt+piw2Wh5abgdBA3y0f+fDUWmTFnQ6Vj9TDlUdJT5X6Z1hLEtO4vCqRxv7RG4loYJiX1B0bm/UK0+1PS5f5OV4VkzpZH70TI3tj3Y2WcPKdRhYk2NTDYD4reSbgh0g4nMSVzNP7Q2p8c4JeofsJgshOe11uE2/iCbqdXimXMmqvSTz/Kr15P/iO5HNnWJZNX4FrSet/j3pOg58V71aofsTsIajemBJwRPal9/nR3J2iQ5bh3Q1xzslAsKYMpB4D5zhQm80NOxQOV2kaTJ27C6h1OpeY0MggbPq9dTfy6t6BIlJEsmoikYWjoU0WfsnxuUWKOGq4K4RkcgR3lwVg7mSiVbzJ+VoVQ5/0Q1Duo16W5M9Cr/XsZXNoTE/rPkvb5KOF1J5amD2X+ZVVUgMTdOs9BQxRPEHiHfaadD/xpoXX1HhkyxsUymGSKshjBhV+8HvC2+mdmEiJT1UL9GBbY41KQwTdyxPVPjDxS5TrJDf4iWF4Mfz+7Erj3ZXe0Q4dRlPdLDJxUa7cMcsWpKFhc6zvwDUHfe8PYguiP3RlRrPiT/Ng8qnCkrnTpVj6KBsAD2FYp3wTNvEoGYM0j4U/idiYENuLQy67qjCEyNyKAnH7fcP1857nG5yHQ5DWP3jMbbsdyIBWZhi0R8sJAoFyIxS7FYTVQC9fZY+zMRpizEth2rIjRRTjJA0QOVj/5YqiBfEvfzK0cZvn1ay7LB+ZsKZiB2UCRekmQT6igmuzV9T2mdASPHRuLyB3mgBJTGWESeyBeeFHFsHFaxsYky9CbJ0OrZC8stuwGtIkdV2TGoNaDcPfBKk7PGMEWkBfTIo3teHviIvsQDJ3g1HaNxSpXB/Cld33zWWjsk7Yc4Bc7txVpKNyaz6HZJ2UkRRWAMLHsJCQYZXvkpLYaluDIA2NNPSEWZgbABKjCymD/EDWGX7GRgtBfBmftdXR/brL4mqULDdWkylLfqGVVs8BGToxbV4Oma7HstnyB9b4hcNcvqx9XBHFn92rrGSTV/XXiNGjRQBbu4N1VAR+nQqwd5SfgVx/OnySz210uTqEF1qbw/5bfNPSqCbFJNFEyNQRwCn+DzpvgU8r3XTcz79Pc2zdzs1l06CYD4yQSlZ9G0FoYz2hJn/dYMC1LyxpDGL824EbAXptZdw3dIObhHAcou0uVOofoYXhWC4qFcmh/YKPaSkbOEHY7T7iKKnOei/JtaVItfCPWhpC56LNrUx56A5epVEEpmiosBP4e9Zwvm+2RFuuZ8RXwWSY7Qu6ZsNZjefzc/9dxg2TEmeUTcHb+sFxmrlx6vQ9klSbOrmbYfMfdf+fqoGFhPOAU7D+XiMONoC7AuWzQouLkoMX3Krg9ojBYeWr3HpnHpi6vir2Y3JB8XQ1xpJ6dg7SBZbCmH70kB37f9hyKsRwGwTO6bONQ89xzXPRdtxqA6N6ai3BxwogVJKb5XFS76nUa+Z3qQ6xt/HTWBWFn5NjyhkArQeMf1wrCBa5C1iGi0EsXhfxPHcVlD5eo9GHEpVlEHh2CkRs3Vi6tJxo2yXcmpUo5POX03Jd+BcE9WXCAVhab7EwM/8es9dj9nn228kMlWmYE4P2kFEIq7kKlg5cMiPj/0YdRj4ruKOPcM1DtVkltc8UMR6+2ARUAiKl4DFiTjvG50U78cIHDMBzoq1uSwjR5ZV/KIKUDgnCY5m/sD23WGiJhVyfQ4i2oxUqCoTi8KwGtosR1TzbC7r/FdlF6sFmdnObq/9BF0sV0nxx+4Yca0icOufoZ6A4fIYWtL9l72u29AhNfJ//Hv/i1yWKnhkqkVqexN0/fSO3UyrR3l8jp7O7DuJn1V5ZC1Jt8Gl4JvbsXgp51B3NOOXiJlnN1lut+wU3Bxr3XvFecrH2IVZMyBi5Tbe6MTSAifyqBPItrrudkz+BWxz254UQ2E/frZE/PJIcvN55ljgwt4ZRykwwl2ds3n+TCvQ7jiXX4IYPpee4CDu+Yoxp2fKt0WmKVSxlIctGnvMQzd1RkcyQjJ90c8EW7ruT5v0rjiZzDdgyMMGlvSgMTj9Dtmrk0U9Q6ChmfXJoTzkBLfr5VBwPRz0LRES8yAL2xjx+oV33wxVtSnxFiQXTOY3LYqLuBvnchIX21TiX/XiA/iItQbAk4lfVQAhrbNjMgZAJraOSoR6EkbnlG1Dqs+O39HH2PipcGUC1DoczmwttDaqE0W5Qra27f1YCl73CYOmyj4FuAiyuO7HDw2kZrf+o11sXEfT6tS7dnbLiU49L//uIF+r/xLBD7+JnOhAh29XIrjnws+i8NERPnXZ3Zc2H1lmu8DYxeLywJhcE6RiEAKYegZjplitRRykt05kCM1kAylcAAG1uv5YtEHq2QGe4+T69K/1QsjZQXtNyCV1cnmTzQXIgWb4u8tKWFaEqo5Nin7xUzpzC8qxqloUd3PGGmUAF8xmZNGICcax1wOCv3C7ObeRAgeC4X4yyvf54S8MMvzhi1JGPAd1pIG+ydtg0UvZ4ux5cEmZs9Rg8fFUnJvQ8qppg8bZxA9UgFn8ikyvQle27baa7DQJ9SwwSUdDTUpGKIMuKzQJQTsQEjQOE12ETuuZKPKODVJUmxmWO8K1mymuBVz5tHyfGnQD4XNUbPLtkFrxbl8VsE+TsELWSip2c1LzEdr0jDaoFxpouLUJCv8CXYO5aXL7K+N/ut7818hUapWLmghs7v7fuji2U11MuxwQhPUViDTj/pkWqke5YVkSGV3saDlBIy4poSvhHV7BxZizOuwQw/j4MVpYZcmeqJ8A5Z0tZSDvoqyt9I5zNlbpk42/uxrNYw8ksMxaW2CeZeKp5VtMgK/cGLDjzwYE/ylJawyS1lxwXrJU1wF9QWcEp6x3zUFx2sowX/Spudq8Q49KCXj2ycBgvc0askmGXdIEg7CX+iB9eGp5+LAm13H+XSLPATnA5V3BfNx0HC1j3zYsoDZ4j1ooH79Q6RH+av9yWev83xcN9ZTUrX3VXvGPyjLRxc0zvRIUHF8kzOgkmtOQjgTE9xcANz2sSvHkQVnj5ZCMjb5Fo6D4j//6yTs/5JuHJ4gbJ1qW7urmErtvZ8uouskBVe1PAk6dYIyGgvhEKEOl4dB1eeivBfSpcAuD4Ue0zvT49SI9uxcQwjaq9YkiQewLtqJpuARXOMBgFPb3VOLx/0qPzOl9Am6SdBL1MaUteHFzpoA115arHAEgkM7lG03sZQ8BJQP+E6sci7B9MPcFW0NB4jJOYbmHcuglyEMGeu7IAt77MjAUF3N9qGiybW5hpmI0Sp4CXdLbBj7zEWY0PkO3XEzXu0Y7/yu09zMWa7hwezdHyGgQBovDDak/uiiP0dfEvFL4+EN56c+hgOE4jH2C1BdrelJ8Bp4MAQcDfGfKag8CKI32WdDau9APsKfy7A//tujamQt0HIbFSXlPYekMRnbdkeldwZarMQmPsQXQjx3mLl6fRqQHgsONH5RdECsZyrnbis9/p/1pDSc4DCCbTKNra8UmVjZkuemCFnuvuHkhuZtN64GTsvGx1B8aFSdXvwjrocCUY/4IFKN43xjd61s/VNA4qtmIgKKemiphVDtKV+D05QGnEC0l6ehTpziQg6sPsJleITpI46pEqb0gwWpEXI4SkC7b0kRzlL38+DRw8KWq4ifQHV4tfEKqhnP86PffP/NJnqacFFAABidliPH0k3nNo167iVvCTpHlDATb5ktqn73WKpjRaD4cOtXd/jkH9ULg3YUnvnJEjKq5k3B1NY6m8DUINWbScuNYQS/mLpNoAQf9DS2jQ3Bq8kdTo9yW96Ov6waUuRYMiqIw7NJqlw0a1fFtgeam/EqgdJmZaGoyAo/Arhlf+XPjSg4EbdRxuV75SBKfve0zDg9WNeO9AcdR6VrprQ6EaN/HtuhoWPg5TqP3VF2hmZjqJeGpuC22LbCPEcd71erNZlfA5VxaZNVCAKk0lhzWSaGIt0IcXa/RvUedhtZPBNXwmgCzRnyA/O7JnEQnPAg6L8zal+tnzkxpOdMFTjrsG9dLI0K7XLvJlMvFXbpi60QKd4Knl5ZAm082MyEBfpobaNcEc13EReTC37TbZAY5C4/YIWCZFgwEitvYCyRbN1Kt1sy5WsILCOMTB5pDqpdbiVzR9M/oE5MzvaBPb8PJm3juDaNKrXbIKRXcbiYbio6ZlPTt47RC4PSu9xHcek+5eKALK9FaIRoK5otsLsP8VKOkJL/SLsKwPsG//obAoTk/+IwtgbDEYlCXWPDxWfSHYZLGshn+1Hvk/kjed3EwO14LNEnpR0cOvt1ZqZbz9LPbR++txc+rvWoFi+DvnlsqAMVhOdYeoftR4jppNi3v+xhwq1PPYb+PTXIPLN7Hr8nfQ4MSf2sGwnNqHTsDreI/LtoG38RdFByDbST9WXbA6D4ixoz7RCXTBkB3h+zXlWZmaYOs7/hMNKIaJkeodV96PsWrqADTtdSxOzF5VtWcJPPmi8eo+CZmA9OaPQyBcBhZgQX5aqrasXokT66hZPUjLKDihkmcoTWiNkboy5SlHJp1CV64V5KKt42hQIQYA5XYxiACGZaNTIvFgq7/+e3nJWmGIny8dxiVRdIXBRVIETVA/uO/Db5NGrVn7N4CiQNz661dag+DY4jfIVaaLMfdE4M2XXY/BluAqwiaij1mFpEjwoC4IRjgzmlN1i4doWhldmPjCmwBzuhgf0Pr2fbwctCfB7QYN5t2gtRQxET5O3Gjmz0LUK6bryAoj1Ehn8+Ik2K1o3dR8cpmXaBESY4MHpIBzzztR7tkOMAFl2BcBqT1KgATrkHacc+eHI/4vEvoSEo+zqHafymatx5ePaxLd3Bo1NRN+55zvPBkMW5iMf9LIqCRX+aBBu4b4OEEa9Jm+82MD3tv5Rfxb+iwXneAmMAuCjv+RI29LT0dnVRYvhXa/Mcu/E+/PGLWdCDX+TUhc+aqqsiXq6O4vMu6yZ/NJpeJWwJsm5BXWscbotyljQPjlOCwAsSUGRh45D1QBC0PwUpK8vqRmlAxL9MKQhAAPsGg00+haw15HDfRdg3AW/OMEF3EvC+RgwT4KMII9AGLa3CDJgRLb/YuUFchlGFb8JP35PNmxlbbdxKyPNZVqt5wKDjKyytNEiEm79TnaV1bl7sXXHQ8krMNb/JBej79vWWqUynp1S0CV+rsfEL/X4FS+QY6JlloN3uUbEHOzdsv+Jk27g2Gr2x2RIJkNfz45HYrmox7PI4GiNyEvd/aIkcQ9oMMGKrP4UiKgkJfiwiRQaq7gWy/vGmDdM4zZBiJGl7pIkH/UT2yHZ0WUTENKIA1FQ0FQdwhI/O00oIB01E4LBRzTmh+6QhjwGzQSvMHDYhTjkWg6c9MzJlRFQuvZyHcYh7cJeNu6UC5DF+geZf8AkthlW9GaraK4ep1o8etlhpRof5XtYOnwpoQtvkTjSVhH+v1KyvFWjkE3Nx8I08gRqoseV4TETVnTCEzaq24Oj48WS77TXeyrE8EYQ949u9Jp86IbjXnmqZZ4Ebz10FUMveU3oLYLUPzrxYRgwAOK5d381hycC1p1+jIeGGeKcs/L0NlFMIP+tXhlNpqe/Xtygf4EgZtjfZw9ntVEq2wZ0OF8gsPOZa5FrlpBnKBgafNzlbN5L2JQsRqr0zc+CPJy2I1tjMP/HlvbsojX+fWlbvFC83LtaKqjTQRyh9RNN5BLLZ67W1+ZD0tbMAZd6TIbCxcT0PuocpNjhmAbiBKWAri7DpGmeAilIhwEyfI/WmFNgPkBeayld3WiMgGYZt5LQNHLr2IZCch34SHn52Rc+JRS1oqIhDY/6ow53JVoiLrgICDXiaWXIrx6XCALTytcaSmYIowJRCJIxn6QBDN5DiYTw1lKRUeqYW9KFawF+V2OV1IEpBWchUxvzhNI8GT1kmrbfw5GyGMbmkV8b/V5QvlUwPj8BbJ2v33Fkc/UTafDRu0NGeT8l4afSSr/zB/IwDJJgM1NJJyBSIWFNAre1ml5kybsGUIO1ZsUaELyJOqwrKWuy6iJFzmExlYkOcf63Uzhr8EF3fnnq4KDcoljpPEweFLuHxkUDpBNuTLaXacYd0PFvlVEGpC3ZMD7C9NTIPuJeP2+DhLltfokz4511oafglrXb300EQJknWJzNhSwgBHEKfZ8BWqr2JHFQJDcI7Q1052wO0c9Ysb/s3U4Fivscw3jkNEfXb6yRR4/k/x9Q+zqv1g/dtaltBOtE0HGqywOQTCl3EufylXU5/XCV6HqGBfwHeFYwRdETbSlC4TdaK4AHWC2J2DDzheovj+pytN5mgvY2mnmY3XgQcDJATadOLUpz9YWhqK4i/EBxv7vSEtGT4fiCAGJCkhcmqFVcDCpfSCMa2XgnSyqRLyiVlUUVW70d/wTV8snnYXaVICaz6vlychQHzpPGPYAFM5vNKM7io4X8PyVRcyG92b0hq70iIf0BoQEuiHdbSS+Dig4hZubPCvRHkL8Eu2RRVCEQu6og1EzQEjfDvYkr1LiPhaxAncwDIFM2iY4pzdE3eT8PFwG+a2jiO2lFiskOf1W50tTOwk3MGBHaZrnR4b8+MXiV/pZ5jRJiyMVxBaX3fcgCqVRhvLLq7xDEaS3o6MxY0rAFuTqASq3LdgDyfKnDXDjJAOp3FLNMrKqemaUd1JyTYXf8lkUFiaM23olKhzt2m3Af/bbsRctQMOn54Yf4i6EP5HFWygQ9mxv4WTFMoCydMknehxewT267c10D+N+YRxoWQ9K1ZC78RGJx72H6ixg5sjqjzEfKqAbzV6Zl9PEjnMZrwRp1vxAqjx3560y5Rj4YzxC3pclxw5cNTcgMTAiN0qRPlCWDnq2KCGsR1gVMxJT6JpOx+qYHvtrU4y9JkB4yS9253wWmeiK/ntGKHyo7U1uN4UeX3d6UUoxsIiKO64BY+DWs9X7CS2RPcG/IXH7Isd+AKBN31FwaosE2yD2coxvFTiT7bLYa4eb4gvjbmfqlBHYOgofLtR4k7AzB/xzgsGAHLlqM1Px1XKnxfhCQHFj+yAJQxmq62+qTGB1L/qIYZG06DM2EDzHLfabb8/QjTj/wMAP41yB6RA9XTpT4EDLN2VoW2ZWs+uBa4HBvQZnp8nAYKTJNA8w871Cid1yjWcHWmAmmtFRjZTDvUHUgvt6d7KlDzPK9XVuB0XcCYy6DM1N4xCLD/0WoApP+gzWcpfwZcyqexOAPSnrHGEpiW6SX+KvM/LvGtT8z+O5Pz+0v1Zo0dqcfG1X4KkoayCjsu21vpG8Uuxnj52T++rRdgSAApII/mMPE6tzI2y+BlpFvumuwevQ8XSGUMVLw96rsvrbDouBEMs3w4ZKGNDR1AVQ3SOOhDXJxafHMHKUuexNsKQ5J7jsivLDrFDkxb9bV4tuW9k/xvPg0ERjJ+KaV7kN2awRL5JGsFy+2kp8/eEAm8MZRjiayfji8i6qx/WPOEsqcUhviepG5wuZtITUc2lFKeEbN+ZlgnqGyBFzAj92OXX9w2TtHRk2FcfMoRCQ4cgTjQc2eOpeUxe2OmDSsK0L5g0ssJtKlwmlInj+9nNGbs7xd157ag8XDxNgWe9yN0m/TG9V0MnHDNTsaO6As8GhxwYX3HxsIpPKBAzX9feAMBop8poyo6Kt5mmV7EpVh5/9FiZ0hp6vMRNrvj4nyItVZdh8wsTgjtHXusVFlwx60nsEELWSXNMq3TyMnYnJZnkZ9n6MhdqEmfiGStQc/k+gW74MaD/XnCEtR2B0QZBOf0sy5nUPlW32AiTIT6XDy3oiHIb4El3GGB4vmDyYrYjrZnXA9eJAzG3/y7K/CMOjQGShGJp07GXyfaYeybODB0APYPgl4CcXEiwMTApePhJmqoHHETOtRmE9bzPDiPFmrG6KBvC37McZ9PNHxR660upvMO8CxCYFcUfnpEmEt6jmDlkymqbhamg3fFbwKP+PNXM0uTnL1eW6nbYEs2Bf3LzU3j6v9yPkXP2CuDqbymshO/Anmr5QIT/4NeuSSgyXCQZ2w3goSEMDZZ8lFjy3bCiLCBPjlSrDCPsNZ8vOQi6vjVZyW+IUowM1inj4JeKyKrmx6d8Ejfr1S5jkY3DV3yBQqiSklY79vwUbtAiN1OpmCzmfEKwl/msdjQfe9olGxoNHm802u0Uw6MoY0WqgNVO76bjbLXpD6gC/AW1heHIPELwiiEqlSMER3b5CjG1IAcqVt+KcuTyKTXfyYHmracrImbll0KddNh8UnaRAw7bUoUKZRkWYmz7QPLC1L8qlGvuqk47lMuoZwaMQpYKobpdKpD0SOBUz/7FH0azOJhLC7Jy+wiCi5fserg5nuU9stTk0dyMPH2jf/dxNb6zb3QbBvy+k9vuLwNRW/3q5tIYtjcYq6z3TEajKjoRjyvaiiP1pcDLQ0pFZbMS48exqV8IEPZiT4o9gBNo+3ZR9pP8zc/9AX0rxBMt6TnPt/F0S2t6Sve4ntSBZZ3cD2aAwGOMOqDp5bouwPMJs4mwiVZxnF+P3yD3yeiZMXdil/fAzYTzFg7G4pj6qpiHUODusavj97IW+EcMk9bMNiMtPhKDAghAO39TvwC1NCW6ZoJ1TYRQX/lwCFk7c/txCgBkOKX0VbAeMpMIKVIP7VjnBrA1iIr+uvvjngLp40KRDhHEo4JrrBcNe8MKnpNDQyTr71hmbB/dNaOl4vnBHID8qCjab6sOwzwIkXccfynufFFjErpZtSKNrw3TP03/6STatKwEjCC4ppoqP7IDrbJ1ph8bLrD0JYXwm1IdZHgwU6PkHhgxTuvuF9srPPaZ3oL7YvbdQWr/Ij8aGsITRj43D48w59wbb4G0i+O1kGGLzXCPDzrOO6N942ClhGZ1eJ9lkiehaOQT3SQeiRyl4lRlBcws5uC+dxG57/XLEfpfgw6hU9fAr5M2AhyeeJJLoua0MvjQBjqiKzLxL/H+WdaarRFzoHa61yqJkXXVLiCkllmEhl4V+R49TJJFXt8gk1KfCknImzVlvouqi9jJ1rJ1I54gA5Y0L4yopzKiMQDox9FPxd9YVABfzlDmPT1unmZ4uUQQbM565qmY37vEiVjCLCXYHAXYsYttNPsGgEnYRZnZ2IJfD0gNN0rFeQGp7NzBUUIkAIHCb7PHlJEol2YKOtPLDjr2LX1wdM2F+LXWA0a20pJbxaYHxlvzZIDqvWKIJrXEnZOklodlMVYkk2cRPPuawNvZXDkn2sua+DEtxx2qUImmlAtFdfCrdCehvsR8ZywFV0utQLQbg7HA2/WfZG9a3B1CJRwJP6FK9jye8Kt4Xgtje8dWHSymzHzMG7GrWNUibues+DvE+Pr6PlfS0/CFXGvhbogK4BcDBkd1/DrhYXog0uceDa4/1ujU49d7Th88iDTcDxUw6pAgvzf/ohm1SezDKPZBoJlULI2/G7RnwWX99q5hHhsZYfe61wPI0+vr/pf7pIXbwi1t4OwjxWiTWy/aQ8ZVoJW0Js+LZ0TStXgoVPubHiAHDBiNAFo3vX73Zn4oED8wb9BMOxksjWPPxKexSIZudgrPKouuMHLpBXb/dGiGhiLyoKXP3/1cSImkWdjry/2VRo6+ad4GNAgzWOE4OkCpkKZCDrXjbP1QjJ1rFfUDt8FsnXTVwCJcJflWbRs0prkl3B08WanAlv2lg3IIB9MNS5fWoLS+eY7j+b6CMvAdCXoJLrcJmKZUe7KrSXHUvAcopivHgu2y39n1oM8j2vApFdyysOXM20G+tQEgP2zybf76/hN+4xt+yM/8HOC014LNy3OxjAjxBWnTJ5fbpJ6FP0tOWQ3YTaLV/Pg9E54UV/Xk82EsYYnoO7h4iX0ELyXi4M1JcNZFHcNkxQ8BJ2Zlkmv52mfuN83iT6YZ4K+bznkJRmvto73zCO6T+kI3NZC8KGoBEyNPAJrw/u88sVLrffQGM/QoXFTn9Pun1maoBAgsPWjiRtuCsws72nVcq7VGctzKh7Z0uWqb0bypElMEIGfA1ngKBGeQidg+w75SBiMwFM0XVU2kprwnb4jc09hop6jlECb6XNmu6aCrvp0pUN+oi7UkFVkxqU/1qDmqvrxccQ/zlyyIG6z8V/rL3P5woa4OBkpH2kepjxjyo2krCLWq/o26nrjf6JDOpuCIRy9t7zoo9qmTL0fp0zd0qfu2Tg2cybTjmalOqHB+honXJJomnp6BDoXoUDauKRfqX1frT+pojOZebmqa2uzKG0kL4+IxTxfqVAr4N+AGad4SIxF2kApt0rA/qxpTXjIENDBN5W9vJ4iL9Y6ptrKqzFa/wu7FaC+0ISeKZPwIDw+nW+2PSWBK4LhQnFj4Vu7LtY5lJHhV+7Ajzp+/vP9k23I+oGWxYoMNgkEyupr5Pc48oE4YHPfVbXhw+btg698LjpFqQJlv/oVCpQyffrkT4zDqig5AQxzAG0vstx8WsZDcwEeaSnU3Ig68b5tUOKExBUdjYIprExAUYYK9ro41l5c7sxPyXmuUdS7rNXT6Z2CXkM+qZ84ndCaihT8WLGRBt+l7uDg/j5Sp/QwL3G544ArB/i5Lf//Itf2LuPuePZeLGrsodiFkFg9EUXtNvptwenltLtrt5LdXNunFckSiMUWvJz2J0Axg7k5qEnyHvhV06Jm3JboVE0A5slZWQw1/JmkclC3Jc9w2O9hkJc1Iga/RWFjbO9QXgVsy/iYepqH4i2MgoNjtuWGr5ixAGqAlT2AXjpGrWq22sBIVYq7UMt1nQ/MSuuysOLAO3x0PpBCCo6fzDIflEpMb99fyVwZdskoMyNi4LVkwi192OogKG8cPUBiz+RqVzryQObCHkVjorsbqtCdt/mqyA3roolSw0gQC+LfwTvxT+BoYd/zbKw5U32Lae79amMJSXzjMjJNay6sZVZKykpdRZhB0HzvHUBml5TWTZf9pbwTlu+bJ07juswZp0ctmBmCKIKyqH7RP4HMdZ4XbVfHuj/6/yZAiRhuo6siaPUd1dm77mbdiQSlpvSoZcXfnW2+q8MQvBjoB1Z7QQzTLNfPXncytN+13sX4fBZKnqP1nx6bTQipCoGnmuVhsL4BjvT4ImP6abTDg/ltBwUulMvfOihlcG1rPcN4Ydd/HA1iFjl/tk4mtbg8f1dIImzrZB/9rm0L8UTdjd5GmP5G7as8ylBmfSF3J/07oa+EsvCkykoPakvgCEHOO6dbh9K9YRuoio9Ys4Wa6CV8tyz8M69KKjorcqK4/4Aay6cIcGzLhIbYszLQJ+nfGLjAm+M9xBrwcdLZ6+WDpWh5DUcROqFtfcXQgnNn5yKF23/imk8t1xtBRhKKZHFpKhEHE7Ii1xuacBp87hO5XnLBU3LglYP0a9nL8hZn86Ek9/cQeBShbA4xIL43iQR/gz54GyvPwnxlHen2gYyeqPfxnScujHSuLyhpt6LBRkWpqRqSsRK02R1Y9/8Ppv4MqAew0+qc8Jc0+3AoUGyCvkIXQSkyXq6AfXPjgqPfJGh2A/ZUsQkr7Y1tXgPfbLXOdAmw77P7gbVzRD4XtGfUB8O1e4wNhhzzC/5ZAOkaGmh9R5M6QGFiP2lxdy+23xD3XykfhmPkxxRnZ/TvCotREnMLH5lWEWCWGg1Y0w6gi7EECO+H8hhDcgDpFbF9PWge+ZXzuE+uFXJD2+wD2i9LQ7CLG8Z1vwNmcc5pftt5okbVhmYGJlJYJfYXIMKCRop+PyL7FVJG+gyDhTs+MEAK1Iftc4+T9kzRJC1P2d4POz0KJL7ovkdJHQQEp50PkPJco6GF81uXbyf5VagLvUxGv2QeFazSoNLqvG9ZkjWjhc3CDdQARXKYffFVt492Rbbks/25z3hJe01M8iqK3JaQ64dgRG2tsV7fc+NqmGAb6J9cS5iI4ArrWEWwBLP9ofTG8vkIDlkF4XNkl5C4EW26q38dbIMz1x4OMJvTDtvIU6d40prjQOmpqcE5qB6mlewmpcCOvLXsxqWBYkXE+YvnVMu/UENH3OhuFzh9hlxhqDjjZzoWKe5D7lDwLI04enuJRpNqyJN//bO1iASW1bsoz+6zSFTxqgoN71v+FQrfxG9ZQ7uA9rexQypsU87crn3s0t2uq0dwWrYsfuRz/1aw3YKd+TvTnZ/2fsH/mazKv518CJLKtDuz0DaEPjeTA6E3QKCneH4IdE4TJBLWH4o55mtGv5PNnYAUF1F9r2mNdbtfxmomYc3UP9xW4fNLQViwKfTOwlIfK/4VcnmktUF6vX2H4QlXIsTV7TFYn/QJhIX3QlRgk6ZELN9GwcxcX+lQp2TSwp/HgxEAyb+zJcOjyDz6lo2zDlxevCHUAfjcBdgtOgkGzGpZksEYUkRVFwPmQ59CDvoZ043H1nZx3SmiwtdItSILKNl2iEgAVPx4OEgfvCSrLC7nocWpxFaYXPKfPpo9WleRfaGgL/DCMRNr7xvtvg7T+0nQeGpFCMfQnySqmxJOvcSQcIBGVdkal17kcGxpCAb6mB6VUTYQpfSauLamqjbNUZ1KPcDxRjsLLkz6J07OBqxFjSsk2jeTqxykfdmZp1h+magQ1Kn/rN1TfxrVmEwR1W87d33J7BHFnkkPh7BE38P5O2tFNcriZuL/3rPLxcit/zSdYJzcy40ei+Ty4TzxQrKFDUecyhVcX9JFLfQlxwOhN9inTnbnGaUcQNI73FnMLBdiOBkOjUcn4Ya02IgJbB7ByYJJ2otnJKQ/+5pDaariO15DgEcfOhiATmvznODzMd0+ewoLaDaPdgwE0Oy+rzA/PmOaAGBMJQn3g816ZJIW4bsQMgRmTFVagZIXiEkoP0TJr2Coe+qHE4eozquns4hl3CSsdfXzgYCAcSFpu/G7dqO6Uh8R0zGJYaDGhaWB0Yn/LL5hkKu4/cUoerHaS2qJXTqI/1I4RMSPoCoUsVEYXaJp5HW2zFTqbMLsLNLsOm5UjrYdXCLUWTnE9RQf60sdwh8vP9RPECop0ObnubP2Ibzso8Gm9ipWYKguQnzWCDYAe8BRln+cVf0DqPGwz909ne5a1UsrmP0xAwJNlpRdARlBYLSwjDK7s9Y/EXT0s8XnD/UXfBvB/k53XAzQMV/QDOExsVTJcxmR98RrJLgnI18nZjIL26aduwx91CbheePPxwkvINqllSVncvf8lLL6No/e/zkePP7FLqcwhelcPlRu3KTyhVaPOcaIfEYVXXwvnW+zQ6mCYSX2JlT0CYgfWPjtmfJ8GL9Lc+gU+yra1Myw4Gh7qVLOpRhoOrlIJJOe51aXjALqwxxqLVp3KH9cDGUGrHQc6j1uJSxDUkhYza8mGhTNTpY+YhT2X/KknAgEwYMNu7ce6bca1ja0Rg9Moe3K9r7idYGFQ5jHi/LqWGZjQrixx0swcURm0nsiJ4kJQj9EF3ITUcSNZJQKdrP/dV8h2n2vwudJvIfs/ac94RDZqcyr74jLcie2n1e/bJjWIdGxBqEmi6fEjST0NwvDi3CZ3xg5YdSJGh2hAXCE47/5oLaISBFLkFbBP2nLmgCTOayp0VtIWSH44Lm6PZ5mMFe4/c/RMJu47h6zKKzZ7K4xeUljqppX+F1M+em3JgVYVA2/dVsxdwVPPpnTo+JmubTU20ySAdjWFnD4veQeVEB21HzuZXlkkzYHppxmm2zkzGaqx9lHD3ysUNH7+dbSY37+886vU/szCwAJQfyxe+XiWR/+RblrerJNVtdhv/6/sgm9bnvCsKJKGZICOEX/Xst/UeOC1b3alqc5MTWTY9KHQNeRT3PXmSkFoymzHn80Hnxx7c4s/sMdvigq7eXCvNQYq3/TgNNOSHWNx6txTSDiBG+lMREjmxbA0LZ7VKc5Q5flylGX01nFdQ8CM7+8cMkTvyG85OQ7iwMT+u0yNo23fdH3Ij+fvZs2NPBEyJ6qoYLCUFjR2Lz4T7X9X/bThGFoiogJLFiDHGDbH7l/vcI324gMHtx7HgXvC+6NrH/ZfdXadxzvIWbujuVekoV2iLMBO6QOqXvEhhf59+gDAismdFGEgD5eMwcjtIP1DNHzWrektrTLGu0oh2mpDpaEDyq+ddX4ypPlj3KJGg1jetJacnJxzUKJDxZltAbiUBPvScF7psHt3zTzilkX1BTE3Z2OE/Byg0Mldf8MlVH5fFtco4YacH+YgvYtvi3bO4zY6bbjSF0s9d2EytJxKRe7bY7dJL8yBHTdBH6izxPG7X030DKSdmxwEkz07G1K5zrpsiTL1L/U2RY4JarREzVgJI/ejIiZQwEd2nXXNOYKm7f1pI7cutHDQvgKjV9QA1u02oPHcTFkopfDW4tVmOf8/TRJC+9+0XHAMx8V5tWmY936c37NUekpwbqw9OmirymC50cNdsZtU1UdOYAAHrWjWrZAhuQgbxbIUfvAXwF1Jf68k/Hu0Mrs5nvJdM7WuGJG1oqOp9QVNce7l25rJAPCx0bkO1q6Utt5her6lAEtqHtlqpKkQlCa0HDqf4n1nz0/ARB2a6hcXz3u/5MG8yCkzk2uF8rHmQ9YQO+eGQeeirTT5NMvcjtTbjHJSJTHDQNXPSBNXk3PHg2lvzw5/QwAddLp3ejl4RZAqzPP8mTdtAE64sS4R+ow+YBhNMyMUtEwNZYHNmAF5ZFvHR2FnjJRCmjaSlN6oEglYgOOqK4TNWbOBgiCCWf6nArxW5y/Um2qqm53j0YElgyJkc2wOBsO+ZyxR6j3mClwHl3NoU0l+PSolWgJGJm3tYQMvVAd2we/P5wTlLE2v5O//+7R5QCaNivaW1LyVJ+rho9xceBqfh2OQLZZzJLhIN/gJ5WdpzsKHNaA0rRI7znES8+pz5XTnTIKWN0ogU/jIwgWjhm4OKR06seHJJa/Kzo+fJ4BrhqGGiLMBjUTsBgLHzClyn2qL0uyyAHibVxcJvy2MMPU3KpaS+piqgLH0EmXzX1ywgft7AHbAooFUlEHZMIow66p99f3TVjcwd0w9KKXmmEv2M14WF5Z7nwFO72VuGSNJVxb/yE5NMYrAeFx0/j3I91Zi6HJLSApdXFTEeRMxmE2hw+f5VaWcoJdRkPvGFAJpKOZd32j8yiR6fqcVZR4HQzy1gtoI1buAti+leytdCwL+DrdKlkQCdS3EJxXwpaE6d5rgeXrpWRqkiXC5JM86XAb7c+FYpZunrLW0MpfX1AFdFsm1po8FGBRUaiBSUhKS1D0/L0wnfS/6QfLjM5zhvDLgpOffn+XDAUBkkb9CZfRfYW3L+690PphSLJPQxeZC3mmMKDFQ9/Mgd2qKBivvfIWc/JVIVOdoLUsVFBPpitf8WiTCkZA6RB2KgO/uTm1PTohyY9oL3ba9GLQxdttQMlU5IKcg27EwfSAnmSBWk+u1U+ppD1tW6Frbd2abLawMKoBLSqd2icQha68ZsuO76w9DfaCtpqnkqD1fMoLjqBdXBacAcnTYCmy8eChsJvgFZXrhIIvXYCleGnB041+9P8O8QYwqnwzXCirt2Pv/VVkqAYlixOHkAi2nkRzM+GVvDaAHWZQuYir2KNY4y+zXU2YcbxTvedpvq1FS52y+VrzDebmrdqZoamrlLDnqIR2g5nxsozCn2UkKSUnu+LoOtV/LFLtIph/vnuWQwHUkjSSCmqZ1N2lqiHmODfvZMPX60qkjwiifS7IDuKWQ83sG8h/9PCDupUqlIyd0ezo7gOmuMbcXn0HhVWCQldXnjsg6/1Pkj96J+/dVHve+7PsFQ83nlC4me+RA9Sc9J3QihxfdIoOazFdr8Cl8+w3jVCuDfOiPE9uI4g9cHDXdi6voyl6kO3L4fEZrlsa5eLaW9aEfe01fJWT4mtHN2Ot89PV1sHE7myRzhyiv73K8k7g2b7/xRCROTUFAcpVzmTrKC0qfuhjDVNOM0JtB9bJEcFGUmYohJPth8bg0iI5Xmmvo6dpuGgPV1TnZBdCn96T35edjG//cndA1nnsjjrcqxSqZmy00DAcGOEVMqxvTTZZBn3bv8NwSFXtDvNzaoKfSxo7+egqRMK8F6RrPvuyVW42dIX5vH/K0+T90yMrCTCFPwYbhZM0IIpj2wTmixvsRhKa5o9XB0Cjpam0+2w3lFp2JT3Pu3BFDu7Fz0u3BUAYJajTPMoQL3KeZ7xjYTd13O2dfSOmcToqLKFy83LnFBtNMFw/U9U2XfalgGBd6Hl3XFfeT44M+OQtJPUD0sETdGqEbBAHAjzpbih460xbGVOCyzJjsfkYhX6HrcwYcQVgM+Th9RlYH/nr6Mw8/dQ9FR2zyMp7LGJkyGvm8haA1tKLNFqE5ZWwMUe65JMvzP+20vtc+dIILgNOutcF1+kEJdCKqWK7dWZ1PamkUEqsegGEC/c2sAoOXpoWK/4F3nu53raecumsU9jHx+96nlinXHgMAadLadAHRkdFEdMkKKlckt/3ELL+StDJtRBcRD832wt6OdnXX4zDexo6ipFjXZPVXfiSIeHLo1pcQtgMvA0z5JejzAr/PlRtraJGlUC4tuR5LumARZiU4hkWJQtHlNZtRGz2eLeCVlQZWMlAGPKmaOWLS8F1tkr6R1pVDn/Jko8qzMUjA9yw3L4Sm95WAGRxnra6Ig1RXqgThIzh+tL+P9LIqQr93t5PiBlQI6NLUPMMC2dEGYpBQcjbsMXdd/ZCMJaBvTI+whpJCKlEk8TctXJwHqKJBCHToLD7gl6hXisialc95uln67YRM33OHWeVjmWPd9ikMtcZFyvl4sazyNf0maIawJp7OmIUhsnKqHnm3jPQTIdzosGVzBmeUjlVz9VCWJK/4mW6DAjVuHC6i6RhZ/r199om984CJe04QNvR3cZ/9ia2YbfDOngGv37ONTcWbKhBmay19XvcXsDNjZmaQTmYhYCtDxkPhF6/VZxzDq56ePYe86p/sbkkIs3hVt5/jF6IzdjeajvwinfJWz0d2Xx1rFQrfWRoIXrVs7CIooocmrwhmkkdtnIudlNW6fN7F2BSrhN7O9QaX9G7Q8EmLtCeF56FMN1KHbJZ8CtkL4o5NOwNRbcUFMp3twWh7V3Vv5/ybohMr7hiHAjo6OKDL4ED6BLMroZmIxYyw30fEMYCFKe/POpYZLJL2kUei1rg8QHGToyZ8/IlHtuFye17xiJrhMbY7y/lmuC0sgOAPw+pUZBSPWQmkgop/3lY4+mooT3ubxD11xoz6Pnxo8d78I4Nl1Bkg7dq/JZvCbs7/ba7seo7PpCLrFTje+idPMXI0ak03e+PgIL9HSnsv71dRCS72fLnbf9CCjkjuMXC/GYG9yN7QWGHImqwC07s7FqLgJbNqayW3nDcatc3RbUaYG+bG/VzInpaQA873H7EyTSUVn+I8BQ8Cqm28iKnKmri2Ff2Ja29+e1Pr+Bgk67unqr6E5rjZXXdEq8fr1arhg7vPCyvMRTy/v4U5/BBj4Gf/IuiZeAYSndXbeN3BXGb7e+uTu5/ix6XkvWVQIh2nZ3pJyGP39dBeWbt3Y3/jE81AbHGJv51+6or8CbK2twji0k3yAu9/tTqEI8grz/26WphoNeZmRHpLZ9QK0PYDbLDD6K58MTXgmtjlqO2GuKH8KK35AgBESlNcrhwAsEMRU2IzJThb0r3YGsN9Y+DmJLZOwxPE6U68NHYpS6u9iB1OOuvR8cgUhHT8nu9BCqG6tcoZ3aMQpVBhzq5ptvIDBosj2Rnhowsl5J/3N8gmaEKeEecAygcVY91ZAeFgVmZo1ckcSUoQHY+QobMXE3pc0z6a8UysmtuKF2B/DKPm/+gVymOY3wX6zWDy2Hr5BVRXjNHbq58TWsVYSYehf7v/MymabMIAc8dJLtROCTy7TAItrfJtwa4EU5YuTb9bTJOARjTdD1gDg3DPHUf09MdNLCkO7/nF2frN7nqs54SlRxpXCbVUbXwnhhZDk8CBtcXm7NJvzIdkf7Ffyjk8pgqvXw9lbJutxqknZmiuelPWUuxGktv9Hke4vzvHVO+iv7WItByqFcdPwBLmSVxZTpxDka+G3nWJQGe8UavATJjHlaLkmAixIQvePdE2sOTjndhc6XLaOpa6kMhRx/UFVNUSOxo6/FbnEjuPF35IpRs0eslmu9AfS/Pq2T5wKtJYJHoqxCzWm2h5umUGB/5yRwH2d7OlzaWQlxTsXWZgZCNdK2CKRv9OW+1g6jyxHUUZ6JIjtFtHuzjv8eiV/RVcx6PtfhzfX0uYoY+W+qklO8FbTny8zWTYGm8uQNMnOuJdemWoIKlqM2KvCBVt3SZzct44MqbSxpiGEUWQ0wua17c1Z1OZ5PaOOz9T9Jvh37xMf3CJi9lcKwYPb1aeLNCz+QpBdpF5479PE0rIfnUcDgygDORQC2xnLaQ8J/+Y1Zs2zydmaYsBoapqK9eBGRrNmmDvr/mF6EZjQbGxkPZbjx+M9/uAoY8BqVBU5mUBL7QkuFcQu5vC9a1I2V1pQQv9ojB9zF7QEkNCA3Aohgvnp6vU3X5iSY5jVq3IJ+GmZfL9Ev1RB9Bomx2zncf7LvXIwjilVtfcAp5bippTi1qPLrY2U7X/zBqguEdq4l45Es4/NAisWV9hd9Pz1VeQJYf1k8FsQjmFintS2kFKeBLF4wsbUBF5IliiC9YtfubVPg98+sHBilBMkFcj4n24+xow7BbQOQxOhOfkgH5s0bsHJoJEkNuQOT9KBD1rQithln4DZWiFpR3xkQGFbVW7dTHp/BejBr21fUJQrSpC6R+QZ63+f3pC3uRM6I7SVqYBKfgAsAs7LDxogCbgOGp7viWhTG3w/lN4MWvQrU8bWIum/4rOxPEVx1XToncLrQF/A0QwDfmKXAKI/4woSDVpiqfAAd5QIpr92mi/bgeR7LF+ZiognAC+XOGvZ0TaHSz3Gqlk3dvuY54fGYguMf1T1XXw4z+XLg5TnrychmZrqXuUkb+4nDNi4J+zc5N+5+iSpLC/lccEsiA5OlRsOCKUJw9YH278GwZlt8ew1ppJZqYUbBqGuF/kCQoU5oeAWAnstQyVd0/McUAIrPOIu6qh+6gnr3/vkrSW5Ttz20glzPsYXU2XX0HqVIdsDjpGX6PSo0bYtHlQwz8EOO9l3kkNQkKk3hCv95krisiNWTNof11Qt2cHDjUo8HlOd6lr+DDZbwXCvFVusJLCWlgtu67jTxCg1QbR4WVCYe47gawP1VFRNrNaRZfM33WMMg86pj447Z/ns+URncH5J6H3yg57vLNPeF4AtZWztbIynDqPdzpRZB6oBijhis3n//AypQ/SH1MiznUUo+/sfuiMYB3wW/ilxwvk1gTRHBtnkUZ8yM4hif2d1obqifbrvwCK//h68W7ptu8d7ZjZgmC31rCW3qQ0S5BvOaVPshugVaAVgLM9HJ1f6XmsG+eJSxHUfl11h30I043t60cQtLtkTuqNb0HlO+8yx5pOIMLfr4xcwB4KOb9M5fA49L2RxC4s3GyTcvA1eJGrjPYizkkkLgyQ/iP72IOI4UIMPM07muO52UZ6/nx8LqnAl87hq+e89JYZvNsadQo1QDdL4PVzNberQiKS/hM6CPTYmEeGW4oPA0lGmPcjyrO19sgqAj0wfhHunGCxi3df5tuiMnEt4HEsoF9KfNVQlUPrHeOrCdIFuxjVLvRMmDbSkKsrDRWA16PjSaXP2eTUNF+swHeVzt3SEETh1KHkAEYTi8h9elMWzSzrM6cam1/eP5eMxUwMt7f7iAB8xMPGiyY6/4gwUz0PadDUxSiOAN9s8sLRle82JFRt9tXDBWxfuY5lhXavgHPWeaDGQH59H02z7Ja/sR3jUCcbmPI27jO1g3+0eBVSyFXJMQM6+XoN/ZhlokkhHN2LSW2TiuYl8XPQHNa7UwfCG7nm61xhAo1JCrrlduGqHgqGi09CuBt9ivNH+KIdvBlxXyhY/Y7t8dyfCQ25MoR0cso5dpkPa7u4US5D/wrOcwQpo93iNLi6SZDubxWYY2E/A7NvidKQUXQONXVjzjwTCot1IJuq+jxuwHyNg+bbG50nVhuZU72YK+6B42fgGfDq0QH4q8URvRUprZjZ4gNxDglzPf05bK+faovB1bLNqPLH5IVIFP6n1uHQDpuwQX5IbNslSfog8rNucBHN0X8Inwj97KIUzhvqqaE0oOVTa96131dpl5t+1KmJ0um7DzolAhnPqr+4MBDhIDJ+w39l4W+Z96mPlp9o5h5UG6Owu2XjYjyF2mfc5ZEPwTAXLJn61zqg1BI5asqcM7UVNtW4MBWuMKRSNWxfPxlnXHeUNl2XvxddlkBpboE90zxrzuEM1bDkIFq5b6IAkvFl5M1aX/vGg5anLLYDtVfeMF4RWaOCSKAu2/Ai1G5t25oZfUn3qmYp/r6yi8HM+T77VKjddDmBnl5lbs7gniNFofVbg9sWuTWq4INDgMTrrFq5jSBIMGp/FQJ1lr4kvgBYTMhhpJTbViiCGTjVlEYlhqagn8Q4pUyZlvofQ2of8qlI96hkaYPKtYVKK0ZAKnWV9mDFF7SO0r2iZjiYCnQ6j05OCF7VZuB3S7+cYhPJqZupAxLTXI5sYF85X8RHKOMIxcFQAuAKAJrQQMFTwAgbV7Ije2jjA5AlkvNt3TY3tggKgtx2xxybCdyFz2QpANfuYZc9y7/Xj/9cTL+kkBQK0kEkFcmAU3QI3Wi2U/M/Kd4+YJhpktfprsWBIaT69r4c5uYY5WNTiFJPDCsKYbn9ddmS0lY45nwNWbRNS7utRkQTDLc1pMFs+Wikdu6sLBBcMTrTYFY/SMoaDychVOV6ijKWydwh1uE76QHOpBhY5lg9sxZYvOjEp2fa2VrDVUr7yulWoOM4u41oIyxXRQgkq4C37wV3BeOZB4JqeQpVi/vRCZob5z8XeVOdlF2lcE7cClBSnQ2Xq+/m1nDhFKA7Wq6CQDAYDlHYfL4iZmp/qkBzSzBq7kOjxtIoK5hBrA/pAVOgaBmNBSPnyrdZD0Svf3qZhgt0Bxz32hjPWIqtzCFVpvm/7K8cpSENp8xwmfjtjTkZ/e+HsLsK/VvEsE3q1Xtzv1RZfBnhVa9ci9qjSad042EC+Y6MzMCmjJ1WvHAPnAgR8vDmkncZh322Jgfcqebq+QzVYlARwNoeZv3YQb1OjYu2EOmkr4nOefH7yGbry7+WcSkwlHJt7mR5DKpmVVPsdTt7CdChJVzW0PTB2ygQR3SSvOpBdjvTTYBBiOL/Ko8sOF6F47m20gesKnTJ3bE+x7w3OyiaGFp/Lx8iUaAc/0M52FvTrH+QkhqVABxO/Jdjl8hRr9tuYXeXpLjOfRaDm/AH05UVHwchA6fk1FP5zInSMSWY+DrwNaZfKLPyk++Qky9xVhDcbXGFdJ5pfskV8op8O6yySO8I9lBpbQ4vtfYdgQ7ORHdz5IH2aorIzIUjnSTpCy9j5cSRkiFAy5rq0JRnDT2AO1aQLPOi3Rq9N5JCXYjTwwLpX7cwpU278lZhqzRBFnd1WZ6EX0v8cAZDGe5wk0DZ6EGXCR//Bo7Kz2If4XK8cXcjhBPl3rlm88Fw29dvZ8ane6p3mbBohKHG19cwkqi6f4f24amRhqCECibP8zZtS4H7zHT9xVxUyFL9cxqpWLxm1/yDbYXbcDQAt4Mmr6C5/LA2v+DbUqm6AlfxYrewiP57Os/ndpJuz66ro6a3StIehP263JF4AVRG7KFGzcw9eMVAA2q++7kqYW86V8pgfbrYeD2p8XVjQppr6d75Sd+bnPMplxhB3zKrhusj4yQrJAAQxhweF1K12G29brE9W9lmxQJBsmCPAxrYS/5ogxRBS6a2EzIC7ewVxTrSAxARX61TlniP3jc8CKNfgEgVHuV8R8ajTF02eGaAEXXDzfJGbmLcZ2O74vKTUm/OQ8hk4y0vIfMvLPXunosKG5R7ceb1GUey7kH4rfInL6WCejX9LCNbaWPD0TwprVY06yvK8JkDeNALHwTAFudeT06W8nggt3SG++f/sxoQ4IfEQScM1e9SWQFMagmmEzOntU4slZz9IT3mFWVYTRfRgXjl0Ic8Tvs3Mfhp+wtlBJ/J1UeyFoEnDvwF4AVF1ju14hrckx7QqX1X+oJS58MX1v9JGJDgk3CSeR1rUM0I4R9obE88Zk8PmNSUfFV2A0va0GDKrQ3WgKi6RoBx0O/d/R1kcvzOappGPQ89o5ttR5LXmA2LWxX1DACz+s8ahBjqz5FGaol0fPIMn3iibcBvFl9CS96xe5KztM/AJrsw+CsY6plKIrxC2GhwEflsBffuszOp6rCqe5nBmdXURZfpQdzXPI/agzQ9ZksqeV0zcNJdzyKjn68uC/IPZfNMdTOdIIwWiVvgMC1iV7rGu1tNOKEqbyuNHTK4c7WgFbyJJoFHk/J/wZtsVtKPQshcm98wmN4aNf8sK0c1HyqYFVzQfbrQC4FhIxYVGj9QXRXvDbl+TTFHKX9hi4UjM8T7+Y37oHhgvrSCFA9LeS/4qsqVMXHALB1wEuFsSIYX+A2DBIsKs6irm/HKMu0po2ClM1EDgQELCWCYVTWlky9Eb3GMJaSGkw4fQSO0CCWhdyR1vy2U313ehPhPoCh9Y1Oyo04pG10DUXpYfzXyVzQ55NcSYifN7tDWf+cEXzLaCdJJl8gnLiKClTeOYnDfPVThojsJ6GyGK0j3rBJ8Dfc6UbRmho66tbJBENmY22cbZteaqhi+vCZV+4e1z+kZrg1VaY645I265YG0YcSgckrUcnJkjbjCJn9bZQLMkryw5RmIRI2t6/kkX7zzFY+vF17R0jtq52mI4IbGNfI95e4f340VvBSO9nl3zD3u7gm/vQWGSSwewpIGtNXo7+bJIRehhmKC2CboOd3Hf8ohy7gyyDiH6k1eNrk8kxi12qBc98p2vpRvS8T4geXwiRQ9nH7Z1xhDqQg9RZhHEbblqz0sJaRpGijWe2fyYUPGJS4dbmIyBObPPdXdYqQLG/FsVRGLD3OMdBlA32OT5hXZxFjEzDfL1d92LyKNnjKQzG8KuvTEGEWsHdGpgOs0IaXq9sHTm6/S45joVp9eRdxlnYu46t05X44arTTpRSxLNmCbPaAwptTrfgfGrRdB/uy3xL1yGLXkEnKSTwczp7C0OuYEAImxYKHXio9zQmRX/+7hM/+XGzq67QFGvRddPUMGIi6JHyOVrncSw7+r17gH6g7MAxUfG7cQNai+OtlXKJBSXb+TrnCAJX6a+MDT3SB3sYnNegEmV20W9lCl1DZjgXmcw3V5sMlGPTb7hNwg3/SvyHdisUZSJytspVw/cEcS0iqecMJohuGFR0qZTpfH1T+uY/9RbZZ5yYyc9zeZE9RRt5Y6NRonkFPTvmgwpMKVDZvNtgnPmlfVQTZZUa6bBwa/VjVlUKrhDzm8p0kbed5PDpzne9TWwCD+49GMDIFTQACYqkrZaufk3pR0rlpfnFaHfYujtvxOWLD4O2x4xNd60GOJTzEUwbBiCIjVyPlasr4kMkYOFMygwJR6XLNeQFkpuEqbqOZrbFKjEYOA0LWS1UP3Ey+mf8qZB16fD2vq0/7TDJR6vWstcag1uYc9P+ZYhBP8AlUKoG2FBAwORBXl2pzGkf79r/6M2WKnl76TheAittCVKzJPyB7MAGEQJ3DKL5min7o9ROPR+urW3BUJUQ5/6o4Q9qs3NMbwVDM+zoSfBkFfyQi76Ts0uosu+adwD1+WNWKLVQYL+/DPVg++QErCANPdnAr5kxppxmjiKh131bvwf4QTGekJ5ZfsAun5fyFJpeI6jTeXzTo//cT2wjxh+V7kfR8TmVwzXfKIQ2qmQOwJ5gpVBJPrTFIPs3itoH7852v4JucpL+Ebmtru1/AbVjyMiMawtE34IoW/Oa4qIS5MyVqHf4P8JzQYzBSxX2er3Cs15sG0uJfllGNyByVYtNFgYpl2zqxZToCpw9HoZO7SaHOb4/n/z00OZN7Eq+70eM4LiDSo1qYgQcAlfoXQudJBHrRp1ouzJOnhZ6Y0vDNwIE0NSk32LQauBxfKNB/blF4YPkVz5+vmEj4LkCeFoDNH6Lw5nvjpFpYYWronsP3e+0fU4b2kAdhSzVdOEjUO35kbiXW8SSfsEoauRZga3+4cWG8PApovaCMePdij3/I3y2eopCL5r6pVHRlxaMvx8CpyBm7KXT5BNfXHlTymY+SHPG1y7N+B8MBzjXi4QNFtB8nLXB5jIkQkRQjKKxu8V/ZIkQJvzI03vUKWaLJ06ZwKO1dVBheC0vXDrJdZhoxmRiAG0blUUTHEjMUvibLjI6/aX6bt5w1E+V4OMA/qtr47XJBe5Po3t+y61HBeO7spwsr6iOXLkj6q+6XTk2MjkMbChOHoadrJsFUWlNO55Y1QQiSPb6jOSLKvToDJkg4e7ue4kRWykmT+vfnhk+fbv9eqqhswCgKXOr5nP83VyMgpur7xx9qdmS0OiHn6KL27y8TyiZfMGCFcSQp+0etfGLzWpRoYnEiLUK53qZXA4VODzjaGS177ENa2Rw5akm1sg/cdKc01vECprxKFa+OEn293jl7/NaIqhxRgTq08Gb1ReEjvOQzdz9inmUpkPoWZwuXNmpJ8VOjGz2iOuV5RJMMKRef2AJFyxM7efqJvXIpqSFv5vW8Gk4sr2u+O+ZjcJryEv8mZz41/Ub+yG3rZWpwZUxhJPPuZVb1OJ3kCtAanRwzbsq/Fjx54/E+Zy3GRWtnWLDzirR0YzZhTVuqZ2YJEd2Qn4qGtidZ9nzew6v2D53UmD66yVk+O2uIv4m7LTY3y/et8IgA/wduL/1UHHSAbe93oIqP4o/kw1U7CSAQoZ7SBMZ4/wxKnKODx8gxqeIzmgYwAL79Xl20JXj6cajxAIWkddJuKkqfEU3jJwoKRE7tltv1YHE3YkAVXPCoOsUV50FL8iniQ0hODoChMj7XPND94+niHuEJ7oJ4+H76doZXP5V1TNJHaOewheF2XO7G+7IJaiRuUcXUnlA/3Tuz2QzfTEwhv4Lfhwx1mbSsbnBaLdtfZqwOdYOuJ3g+ZO+mZCyaTkQuRYtJXeVmFr/9Ln21jUVDWYY9bGTldETIjjSN3U6/AjVsVRZxiPilXDhcxnDSw7G0O+YR3IDgskmUHWD+vXHRLd/wfuXnmQpyHjMycS+XkYnO4KNc9QTqJC3OIGiDSpLishiYc0LtwfBhChIgRsdr6PS7VH5X5NlzJJWQmtjRO9SHaQcdATvJMB8LztDlOzT5eu7wgPXyLbL/yqm+8PQOBSQvrj/NJKorm8K5aEFIEqSQqx4S6R/7uBNCb7dXl9DqZgiQm/wU2PLQqF3o0UHVhMuZERXodmjSxoqYVC1dWlxxJPves2/m0wuWYEeNXm43l1QBzZzudr8EuaJj5JVIOddjlM8/LhlDoci2eIN/O8Z0ldYiXMmr/Ac4nJJfxNMYd7S3p5Tr3f9aULeJBLrwRbcq2MZQpgosTUdaY0JijllSfbJ/22WRg6ejIKE3dGy3hkIS8w2YQi5aRyPutoM6KAa7RH+EreB+7BFcSGY9z9ib2XzsgDQoEk9uaxtMKqywm7oJ1/QzdfQbQjEm9l4RkQN3/YlVBLmKGv1qrRalPtCQytCq5xs5JFZZWnEAh9z6LzVWVaLkOr09QgmhHYELmv9ad4BoneP6GO15IOca9TZEQChqUlbWOKfZeC0iIB+sLBNwwzBnemp1sQMhWYwQwVCEE46sKtjiAOkt0R17lA1c78dDHV/AiH/ycLAk1U2QlZKt+sugpRAs4MTBW3v9bMJjZuxNS0fdb6Okq/0PomKGelSWC5MDBXM2XcD67Vf/bNthdfgP/NW/YjPYOujJkFtrGNeMY2H2AB7sZkKQ6YheFQl1OCUD4c7Wk62QhXXfizNIatTU2WyGGZK52z9FVvaCCeLXGbHhMEAyjEQFkvUTHzvK89HVsUEZSZQ7NNmK2Pu6g8Pb19IfGReHqZgiN0F2GJbZxVlkHgiaOmgum0eyfz/hBO4EIgwio1SUVfkik+TiM5P7JgA7FyVmjkaLjENYYvH8npyj1irCeozvuyMrVcpiuYUuTYzIF0K0zOB5aNMs7OCu9UiQaPjo2bR5GIOGLFLKBDTAafts9iW5PB0J3Sgs8xogWARMiK2+re8hPWbkX+AgcwqDIjfzR7SURN+dhGIY8ShQBVW7CRsQiFDKyUFLxDVfBcJ0LupCEx2coeb4PoE5hD8+QaBQh3z5wQhfOpg08QAoJ9EEI2Ys+QJ31yPkp6CjwVsc5jrtfj55Nq0cS2Lu+jY3VjeKjw9OvfRKCCT4i93MPRU//h+r8ZuK3PVxD54ny6wtOvZ52KtJ3/IYK4IRJwBL3QqmD29U33hmWopgWZlXpXE/AmJlVo+7+FZwvo6OdEEzOWzp9fqb95XRAz0kmLvTDzhzm/bT4qmxcs+2qmU7NO1+QueDZKqbus7K9irHC5o891dq7XEbNcoJD7Uas3lgf5IVmhhMzEuBMEzjwXO2l36JQiiQ76QNLRCXTW6IL4VSHxU995jiQFCFlimNiCIy+8jDW+y+W4eknSQfW2WXwMN1coygsz2d9J+SgLbrtsor8VT7sCxO2Gz0n5KulhIkEvik7sLUGtsDMrhu7cOuHUUeuDgyL6l/qm5FDuhE31bGDi08PLnz5Pm5/uQ7mKDDmJSoZ980ah9W53urow2QaI5zrYq4FsHD+ThgUcimkFIfgLirKZZ/NjI9oPY6jyhHLZh6E06yDc+sUgCXLhKt+NZq/2R+cRyI/RvktrK1TLE7v968Mw/8U1HkBYA1mNovgukS78/NgcCQmMgcCl1JGEyyUjVwUaCpJ5i0U3jB+AAW7UsNxbXBE5iN8KyEQMFKYbhs+1CJFgTkclP+1gVx+pe3I+N4hQaOJnvjYbYQpwofNFOpK7b6xOFzklaCREUnG7K1hOsUqcYkLlsKCqydKBbxh0RAcKCFclNNw00/uu4Ou3IW5q8iXU4NdNl/CyeiWElZeawOCyd5UROTYxkFa8qfghUYi7LKOrybBRig9AQpaOTl22k6qYCXsFKi8UQH2GWGCLUs0n502uM4lpLAs1ITsbXfwtInVQ1/njBABAvxlX7YcXT9+WREMK+r3ncX5NOQK89+iCA/qhnjI7AzFTdX3AKKnrxmvao4ZTXqa655p28uSeOuM6tKgPzSjwDhnzSgx69iBFGes5zv5NH9eVdD6r5qjQVLXbL9Q2DeR+ZSYdwhxqNFmEhRMleQYhYs/Un/01tu15oWLBIZU4PMdwrt8BjNv9NIBY9pAfdo+nym4Bx08V5ZfcKOlumOO6ybopnb187mK25JiyxiEjPFBZWk0amDqL9Qf8OJ39cklpAqTXHXX4pHcDEMwJMz536zeNh/MO4fm6k7DFK4A7H2F16WTJKcRwUR+eTTjPPjAfvg3hupJAyubqaxJsJg43ApWCDXfpnijHEl8gwjIi9kavw6nTxXL9DP/qRr+NDdkett0BmM4IjVhGlyMhs6Q0DPAE5SbcSx8y3/o3lxNkXkQ2Bvtg45gTb7GsGvLqcF+wlb1Ab8IsDUc5fbUVpYSrkmOyr5fwMDfEA0SQZXBl2pGBjFOhxvQ4tK2d//xA+IJD1yHgbDDV3pRv5b95llss0hFGnhZDDut59bLyaqx9AW+lILupkH+DJqd9WFecyEaN+3ZBy+ejfYnaS2PypQHARanfHyzlPGOy9cYIM79v+/Dvj9NNl4eAn4zoOthpKYDU0IB0ulSj5gpeI7ah1Lp/HLpPNCIgPjkQIN/zCfuSpgVcaDkAGRCW4s9Mke/7PDF9P5JHHqIaIPC+eAwrmJJmOPdqCPQazCP62AQqzfDoVwST1qILHLAUH5Z9XWdeuofe8iTSDkdk/Rtj7M6Vfe4v+lKmPrL/EhemPei2thsJyTFL/CfGxytZzBZI6McsRSDLQ9H3UWBiFjBROz4wurdvXL+HFSD6JseC/NN+zJCae1HFKRWrytcsUJo1bpbNeLmyGuX4mEFKkVZ0D58/dhshNhiCIuEcU5bXwI0XAuUj6u6OX+xF3e0yV6v46s7h+koakkoG8S6lvd0NrCsV2jNCyCxhq4UaONqKsBfMS5ApWstI9GihFk4klwVIkveQiaX69bl40eWzf/ENaOyabkKmOYpVOELrDIxhYxw7A0VyTlpadqXP/VBAs1vPho6BdW9nWUXCl7C8Ub1Ezy3Ss3tc42kwCSjuaIx8aD8E+OQistpQfssYzG6u8HNOG9RDugCgtZnPxE+zbuuzxlAmznjxeqXMLYOj5ZPwYZbhV56hrN+j/0t081mCJFVnDiFXf9c+QAeK/HHNhPHme7TC+o1Ov2X9tLmFXn7IpB/GwhJYYN2vC48euMerenpxue5tEsuviB1zhcnY1nHJ0FE5St8uX0uQHBGB6N+YQYtLoB+kpNsJUShKi4ALgU6ld79EnjNqoguJsEQT3dLFCi61wwJ3yEAbbpQDD+xWHSgVNqMGj22i3LKtRAaXCbFAPcBbsihjiGn0C68XOZ9h2Tzq5fYFJ4ktDyxDjheHjyx9G4nFaRmx7tilFqyggQlZT6hwXZyIjNNXPL07cKIU62xAFHn50gLZ03m3U2+hFpO/F+h7tEtlWfGIDqWN0oVSImI+6bmCw830qShrHPIROLHRPKYibSbHz/tjRPd9w+nm6ZX6arPgQMPFxmGkDL1jDCOVVPIAHJFQFRcv+yEW8oqH+XnexVd2AcL1dYpUGUR8hO20YILaJt8prsqGm4rFzf6I31rF19dtvhANIlD65xztPXaThpQXcAYoJnJPTAhfExQpIp5zalJ6d3vMrVLvzHlw6znLcqk+32bElt2eGGw896KEn+vrgm0Ii4pzdc5FmpMrFDQILw6SWF/VsrlDr4cP8ymeYlW6LReuC22RPZ0H/ktdmAt9bsG59KyCxjMLNgFgeHqvWUuZN5Vxqc6fOAyQRXbz9sh05bVGiI+BWm/BzAlmHL5BOslsYOrqg0Cig3xN/dd2WtHFwfYkPXYLOK9xZNNAf9Qxxb7FidqpULIqx31t1hqCL6TJ4u6BYzVZU4rVVZ26+ESTTGvK9Iv5HXIOKLw1xIJLjaRUE5QuovJmUwOllu3PgFVmYaXTpXHs5WfHVQ73nBY/LNz1YpmwcMnnBZudjH5oFFWuDaovKNmskErcQ7Xuc1hZEcqzYoWFBbDoNFZnprPPROE2hKnd3vWrSTdz/HxWGRFZbhKksTJFchgxJSP9UZul4w=">
            <a:extLst>
              <a:ext uri="{FF2B5EF4-FFF2-40B4-BE49-F238E27FC236}">
                <a16:creationId xmlns:a16="http://schemas.microsoft.com/office/drawing/2014/main" id="{D7159B31-B245-9740-3AE9-E237202E9516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4280134" y="1790353"/>
            <a:ext cx="3567369" cy="4565963"/>
          </a:xfrm>
          <a:prstGeom prst="rect">
            <a:avLst/>
          </a:prstGeom>
          <a:blipFill>
            <a:blip r:embed="rId20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71" name="btfpColumnIndicatorGroup2">
            <a:extLst>
              <a:ext uri="{FF2B5EF4-FFF2-40B4-BE49-F238E27FC236}">
                <a16:creationId xmlns:a16="http://schemas.microsoft.com/office/drawing/2014/main" id="{AD2520D1-B3C1-6F58-22C6-273580920B97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69" name="btfpColumnGapBlocker435457">
              <a:extLst>
                <a:ext uri="{FF2B5EF4-FFF2-40B4-BE49-F238E27FC236}">
                  <a16:creationId xmlns:a16="http://schemas.microsoft.com/office/drawing/2014/main" id="{B36DA8DD-E8C5-53D8-23F0-8F492FADB1C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7" name="btfpColumnGapBlocker534296">
              <a:extLst>
                <a:ext uri="{FF2B5EF4-FFF2-40B4-BE49-F238E27FC236}">
                  <a16:creationId xmlns:a16="http://schemas.microsoft.com/office/drawing/2014/main" id="{7D098742-2549-C1E8-BD56-38D02A1CD28C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5" name="btfpColumnIndicator806491">
              <a:extLst>
                <a:ext uri="{FF2B5EF4-FFF2-40B4-BE49-F238E27FC236}">
                  <a16:creationId xmlns:a16="http://schemas.microsoft.com/office/drawing/2014/main" id="{BBBB9492-4D21-8919-299E-8C3CE9D85E4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btfpColumnIndicator402204">
              <a:extLst>
                <a:ext uri="{FF2B5EF4-FFF2-40B4-BE49-F238E27FC236}">
                  <a16:creationId xmlns:a16="http://schemas.microsoft.com/office/drawing/2014/main" id="{08162B55-BD26-F6A8-322A-B2C78F9F04C2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btfpColumnGapBlocker538500">
              <a:extLst>
                <a:ext uri="{FF2B5EF4-FFF2-40B4-BE49-F238E27FC236}">
                  <a16:creationId xmlns:a16="http://schemas.microsoft.com/office/drawing/2014/main" id="{21A72A34-DC54-1F0D-C93F-B072617C3697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9" name="btfpColumnIndicator794448">
              <a:extLst>
                <a:ext uri="{FF2B5EF4-FFF2-40B4-BE49-F238E27FC236}">
                  <a16:creationId xmlns:a16="http://schemas.microsoft.com/office/drawing/2014/main" id="{F218792E-0FC2-FB62-75D2-4842DE713A9A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btfpColumnIndicator978168">
              <a:extLst>
                <a:ext uri="{FF2B5EF4-FFF2-40B4-BE49-F238E27FC236}">
                  <a16:creationId xmlns:a16="http://schemas.microsoft.com/office/drawing/2014/main" id="{84B9AE13-AF44-A09C-2AE9-7ADDA2BBD326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btfpColumnGapBlocker663752">
              <a:extLst>
                <a:ext uri="{FF2B5EF4-FFF2-40B4-BE49-F238E27FC236}">
                  <a16:creationId xmlns:a16="http://schemas.microsoft.com/office/drawing/2014/main" id="{0696C4D1-FA58-2B28-9B91-03A460BC52E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btfpColumnIndicator449272">
              <a:extLst>
                <a:ext uri="{FF2B5EF4-FFF2-40B4-BE49-F238E27FC236}">
                  <a16:creationId xmlns:a16="http://schemas.microsoft.com/office/drawing/2014/main" id="{DD788D4B-23B9-36C4-C51A-E52E02A10D51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btfpColumnIndicator566759">
              <a:extLst>
                <a:ext uri="{FF2B5EF4-FFF2-40B4-BE49-F238E27FC236}">
                  <a16:creationId xmlns:a16="http://schemas.microsoft.com/office/drawing/2014/main" id="{F5B5FB24-DAC2-A1D4-E4C3-75504873B6AF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btfpColumnIndicatorGroup1">
            <a:extLst>
              <a:ext uri="{FF2B5EF4-FFF2-40B4-BE49-F238E27FC236}">
                <a16:creationId xmlns:a16="http://schemas.microsoft.com/office/drawing/2014/main" id="{72D53C33-A4B1-8823-DA39-59F7C947233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68" name="btfpColumnGapBlocker289408">
              <a:extLst>
                <a:ext uri="{FF2B5EF4-FFF2-40B4-BE49-F238E27FC236}">
                  <a16:creationId xmlns:a16="http://schemas.microsoft.com/office/drawing/2014/main" id="{2AD48DD9-070B-0A6E-4776-D430E9A6601B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6" name="btfpColumnGapBlocker599684">
              <a:extLst>
                <a:ext uri="{FF2B5EF4-FFF2-40B4-BE49-F238E27FC236}">
                  <a16:creationId xmlns:a16="http://schemas.microsoft.com/office/drawing/2014/main" id="{2B1D210B-E49D-F456-9F74-21C6635FB13F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4" name="btfpColumnIndicator388373">
              <a:extLst>
                <a:ext uri="{FF2B5EF4-FFF2-40B4-BE49-F238E27FC236}">
                  <a16:creationId xmlns:a16="http://schemas.microsoft.com/office/drawing/2014/main" id="{83BC2C88-F057-AD2E-289F-40AF7EAF6AE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btfpColumnIndicator592454">
              <a:extLst>
                <a:ext uri="{FF2B5EF4-FFF2-40B4-BE49-F238E27FC236}">
                  <a16:creationId xmlns:a16="http://schemas.microsoft.com/office/drawing/2014/main" id="{D39B1E0E-5521-4BF6-0C5A-3E78AA871194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btfpColumnGapBlocker579045">
              <a:extLst>
                <a:ext uri="{FF2B5EF4-FFF2-40B4-BE49-F238E27FC236}">
                  <a16:creationId xmlns:a16="http://schemas.microsoft.com/office/drawing/2014/main" id="{211DD573-675F-93E0-5F3B-7A3F5F4117E8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7" name="btfpColumnIndicator143838">
              <a:extLst>
                <a:ext uri="{FF2B5EF4-FFF2-40B4-BE49-F238E27FC236}">
                  <a16:creationId xmlns:a16="http://schemas.microsoft.com/office/drawing/2014/main" id="{0B4C59BA-C364-C5B3-97A9-C0F736A68E9D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btfpColumnIndicator711550">
              <a:extLst>
                <a:ext uri="{FF2B5EF4-FFF2-40B4-BE49-F238E27FC236}">
                  <a16:creationId xmlns:a16="http://schemas.microsoft.com/office/drawing/2014/main" id="{D221CB47-9804-3A96-546C-B080C1C64966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btfpColumnGapBlocker752623">
              <a:extLst>
                <a:ext uri="{FF2B5EF4-FFF2-40B4-BE49-F238E27FC236}">
                  <a16:creationId xmlns:a16="http://schemas.microsoft.com/office/drawing/2014/main" id="{07E227B7-0E61-123F-5C4C-0B01B528AFE7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8" name="btfpColumnIndicator738779">
              <a:extLst>
                <a:ext uri="{FF2B5EF4-FFF2-40B4-BE49-F238E27FC236}">
                  <a16:creationId xmlns:a16="http://schemas.microsoft.com/office/drawing/2014/main" id="{2F6A16AA-8C72-C57C-B032-8D911293D23D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btfpColumnIndicator383631">
              <a:extLst>
                <a:ext uri="{FF2B5EF4-FFF2-40B4-BE49-F238E27FC236}">
                  <a16:creationId xmlns:a16="http://schemas.microsoft.com/office/drawing/2014/main" id="{AA4B5CA7-415E-D7DA-C0D4-27645191E3A3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F6ADACD-6925-4DE8-A425-F595D8D8D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cope for Target to work more with nano and micro tier influencers – these are more cost-effective and typically have a more engaged following vs. big accounts</a:t>
            </a:r>
          </a:p>
        </p:txBody>
      </p:sp>
      <p:sp>
        <p:nvSpPr>
          <p:cNvPr id="18" name="btfpNotesBox364169">
            <a:extLst>
              <a:ext uri="{FF2B5EF4-FFF2-40B4-BE49-F238E27FC236}">
                <a16:creationId xmlns:a16="http://schemas.microsoft.com/office/drawing/2014/main" id="{FF06EDAB-6D6C-4685-8CF5-2B9F2B35044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20868" y="6330978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buNone/>
            </a:pPr>
            <a:r>
              <a:rPr lang="en-US" sz="800" dirty="0">
                <a:solidFill>
                  <a:srgbClr val="000000"/>
                </a:solidFill>
              </a:rPr>
              <a:t>Note: Mega-influencers are those with &gt;1M followers; Macro-influencers are those with 500K – 1M followers; Mid-tier influencers with 50K - 500K followers; Micro-influencers have 10K - 50K followers; Nano-influencers have 1K - 10K followers; *HypeAuditor reports top 9 category segments for a brand</a:t>
            </a:r>
            <a:r>
              <a:rPr lang="en-US" sz="800" dirty="0"/>
              <a:t> </a:t>
            </a:r>
            <a:r>
              <a:rPr lang="en-US" sz="800" dirty="0">
                <a:solidFill>
                  <a:srgbClr val="000000"/>
                </a:solidFill>
              </a:rPr>
              <a:t>| Source: </a:t>
            </a:r>
            <a:r>
              <a:rPr lang="en-US" sz="800" dirty="0"/>
              <a:t>HypeAuditor, </a:t>
            </a:r>
            <a:r>
              <a:rPr lang="en-US" sz="800" dirty="0">
                <a:solidFill>
                  <a:srgbClr val="000000"/>
                </a:solidFill>
              </a:rPr>
              <a:t>last 12 months data (Jan’23-Dec’23)</a:t>
            </a:r>
            <a:endParaRPr lang="en-US" sz="800" dirty="0"/>
          </a:p>
        </p:txBody>
      </p:sp>
      <p:sp>
        <p:nvSpPr>
          <p:cNvPr id="43" name="Rectangle 4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jqLMMMTprJfiFfMfF2PNjqv17fihSZHpStDl/JOAZ2wI38pPu1UA/lNs5A7hPV4jh4Ks9EDSos8em7nPrAzkRqlrHalOq0JSP2eSTIURa7LkwmscfGnojZbWptcp1mRPlCLflta9CJtRcgk4WCnsFOpw3iSn0iqWWVnRJoASL5I0z7Al/YdCj1NDPz9H70dFT7dN722Fmicmg6oTNCCEPyaamRozw1IsD5cKAf3YgDI2+bzHOsZ8TMuomlyIjp8X9aQziRaP6pycIhjIRR7q2eQ5hCOX2NZ79r+UJfZQMQXS4sHDpDHKvboEId9VeLz1UJd+Q25S4WEwAj4MYWqpfbNe3VeH5V1yw1kHpGTOu/XPNdSR5hh73E7XZbVEr1Dzqtp4TCom4v+WlZEU9RjHK7wRYA1U7LoRjV8kGzL2M7VOsx2fIGHwcnidkvjTcPBTfAbCG6BBQUFpl1TQa6YD4v6WaDybmSsgfavWTd17WoHaLeQUYmcPnnASNJRFvA7E8wYWeWiGXfZJLANMmbL9sztEHBsUfE6I5fodKDvNUAb11WcE7tUKCpRgcLmShXIRg/Xf8BBzCk2t4p1ZR4WSvLE2W10A5K+QMLKQUdNSSBDqQyGm3w+kbb+voSd5wCkL4TTq2vpdFhJrEphHy/rvU9zGzF0jl4/wNoErZQ65BQ8J0w1+kcKxeL8VvJAs3J0dBHovGkr3cq3r9KNDqMCV0ZezNVEwOcWfxkzStg9NIZ7AKEsCq5VUWFEmMAUx0t5fUyjBjlmacj1o+ysZ1zZ6mdY4ift10hk9Pb8lYL/12Ut52NPAv4Ck3jprI6hnEEVldoV/pQ3mbpyhQb7Gfj4Fegkcwkh9dyNbyhRPTxw99uSy1U/Yn3MYNCgrNdY6pWZfa8vBc7wcqVIwDVdRx6Q2vL1UT2VTCxgHyUlgzwzI3Kpa3Ta+WcZFTDKlpo7wHAjmb+Xnpg4Dsj23btl5WdinazsTKxAN8MeUOcgL/zb4/2oSjjc2O9JXwlBLvV5xiewLswt6MdXU7PD4WjHI4BQ4+FJa5iF0Wu/K7hL9xkPoDVaH5NSkGTc7iKys5lgh1dOPf2lPLv322tmH+OOHnH2ef3UapLWgzdS+bOjdzmYq4jmksqwycr1xLurwflvlRgcJoPl8S1wFtvp0UO8VS+hHOvtGrg6GNSrBP9ndW56I4G4xm/CSoRpqvy9sxqprUSr6+05pbwxgpl/rb3jSkEjHIW3tBo1EQZ39P94s/cBHbunSONk4qL7AOyTKDp7oevBoRxLRZ5jtqG5iNgd8XuA1QqsLbvJIqrQM9AAJO+VBOFV1+B4LvnVRKCbqfyF6BulzivXgaLExO3QIlRf1hz0KmHhw4UX3xH/9I2Kc3Tkb++WShAwW3wtr8GMuepx/3OEx9/zhmJv4XjmEG88yj3NXm1Vlz2lu64Sypedg8v+2Gasf6A2dCh3yDybQHs1PEiai5gyb3W3NOMc+y3rjabErK5Agv4M/UZUDrXd5ENPd5mxechTA0Xill6iMECw8OigJYs07dqdRm04QuZts0LmDpYUZ8cPFRww7yyiKCJfohXh37x+zv2XyKk1HTGQYnZFlft5walOq7TYRTmWxGn1Czj6f4WRJoSEY4qfy2e5oibV/IUaLmuBkXwE0pOHiCZN+UK74nvwPYYJzpndEmRKxuR0e6zY0Gl2rBiHLgK951cckWu80Y+Apv4EzaoAKYwnNwRijzXMbrhIbZ8u1Q8hOXvhrjMaS+PC9tz67xBtKIM+pzozjrMtmTyEsmf23eSbXBIxZDs/tb3lX+X4rW85SRpKLoO4OHczv9XYVutPk4xpYdmf81/UXLBr/waTPX2HB6mwj+MpfH1tW3U+Q2QlfCxhG9VdbHxrm0WVA1uyVYqKKrgdEU9Ye2szKQn41/6zABbfCxEitvkSYFpC3LUBCi2U/wwDt9/23++m2VomWecbMqm6BCIWA6KQOv7C+nei15ZooQMDdhzBFOU7fZCEiUirnm3GZu7hghgXR5xPc+nqLzImhGAsNPLhPUiKpoqYHSQhEu7dyEFtTE0wGvVld2vQ5DGnXq4pfXmIv/dKsBBKGFodme6KuxgMc6LuKpyuw3n+hXmZNGYXTc9689TAfVb2pPrMJ3wVkiwA0IEn9u6JejNCrI9HmKQbYQwdEQbgJv91v9B2MpVzFLxlJucm0//wxoUPcp+OR8Weeq10r4Gz9cYhOwtHxoMm8pz1yRp5+3Dm0kR1lid+vmHRmYaPTrFnFzaDCiI6FLhjA1iG3yhJO1QkUKFFwZB8GDiq2UY2rEYeR5xdTazfFOdIDN5PyXZZq/t9Pt5gbFOGNw62zYvK4wKZgmyNyHRfKM8Z6BGMpeEY/MQgO4R/VKA7qaeZxk/n/ym7+lY40Mh/uejafb6kiUA5TH4muiDjHYqX1axsyRcg4luRKU0Pw3HbMQRYNad7BIdcH62Nr0aS4XC6egVbxnTaW8Hos4l3+zw7U/XaPNdixjODYNKVQzrFaDdohrIJ9yIuL8IY2M4LkBTrMJqvCZkK7SL1aRUte6gKlpHk1IO52vKkYA3EGHBjvTEOVmSiFLpvxmk34ZhHQApgqPqpdKwK2QBsZ3w96YLSrt6/cBDOjK8FchsDsZ7Ee6FCGR/Wo92Qe4vdUD5MJG9pxpgmvSh5KMuosc/vZJWB2Ew12kF//bb3M/jcKjzWXHExnuu1TiVrvGJ1Y3IRVBTgDDOa/JJUoNyxAaje8681yFLYdcizN6vE1YyuAyoehSdhyv/k+sY2IfTW9jpjDfnCMefKnlQ2cBeyQKMXSz7kjOOyrutzQX0EoPHKA2v/F4tZTsLg0axT6P8pqjMMy1BkhrpP6FpR4DgZV5sMp4KesqUpSDB0N7lDApqMLZSytiyrJUGzOe/VSBxmWoJtSnvdgcUFMQdLHd/qCDaHls+iSAydcBC2PqvKIiInk4PKK0Zd12++mbbB0cFv7mxvVs3/j5dHYLK0a/Y0aOyRna9i9/3nJp7o20c31c5Nkf5dXLiH11P+5cU2ceZYxJP8DrG3RYcyopFkULkzrk5Srv4kNnadbWI5dCr5IFfXQoQ45VadRImnCh455pxW0OgnnL1douCBGbNWKz98AALf5xcaPDsPRcXQ6P0QDrkV8KcPPALT6JOjAS5GGXMF8ohpdmJrXJ42t6sg03sTCc1MhA7oErOq1vfmXpM3UPQ17u0SxOcnUS6CAuP8scFfqrjEGK8Gn88WQOr+59EkUQp1ADh6w7Oqb8FAvFbtRJbR0HtQ2BIeKZRIJBOYp0r5fj5z+a9f7XoBcT9JqDdYs6SEb+eqWWRPt+PgxOelSxmjBchu99IuKyFDVWOcrg/CCfwvd8flwe8IJukgXczgoVjz16SSf+S9oKB9NQ5GL0ztkWTcHJr+FaDaRbOYxhF1GrTgQmN6SS0k9tbtpS9e5iaPd16DrFTAn29amCwVe+YyKQGzBwAP1wm0Nx7ioE94upS3cImLQFEjPN0SIdy8Q0l2+Wb/DiULGP5cwuQJuLKv/T3vT2cNbUhqWsYZN2f5WvXetKeziIFizeppZxtOIZxp69QSm6hf5UwMEQrpShmMq5C5bolpYAW1Kb3W/8+nsLi/t6qH7s5MW6ApEEE23A9MOcMHTfPaQjqrQhYwJCcRXeC1UP/ZlNuZPjVYUiBEJJhB02vQLXzItx7VGJOKJTUszJB+zznpXabuTJZKcZ7pnwyx29X6hiX4qq2I1W44R3Va5M1kWo98XZOFe6T326W5EqWRBe0nhDXfFsx3XK3GDfEE7h0V+ZndJ2KIcgo1NvuzHmR2C9FHXepTZgIMqg972mfFYurNd1x/Fpzzx4PpPXgsYuz/swEPu6xDsJl1jMR2OGJzl2+ufyQF/JawbRuUnopOWar9NkDcmY5DiYbQnKhXNXDhKACO//x0blNoBFoYkTyH3WvRS3gPdeQM5K+sbt21NWpQSNTPuG+MDFtl6Q68kxGaB7w9hA1OTlwTLCsM68f/ubTeYYON1eM9Tv/sGCLMI20Ku/FMGWucndw5EKjNb8xkKRbM4iI+FihEwKXzL37ZInPPeG2oe4WS0sEE18dzgf5Pjix0wnFjrPo8md94j01w4vgNp29xl59Pr2OQcJ089N/6G/axX+gh0WPPVYVywxP5D39rorM5daRFhuKfSFQmAhKdkMA1iiuNGANGpUEvUzx2AJmlIVJfOV7TB+M8fcPdfN9VW/NYN36lUxkynm2A3tuapZxOrX6ec00xo9NQGi3ooYwxtppQWmru9P27Qx9KMMEpmDh+lPVa/xkGvq9b6SfVlIx6SLXls3+Crj3fy+xvXncqFeMWDF8Qc38lZ1u73bHRXRrwHZETLxLmNYZ0k8wF9EUXCzi5edGdD2+25VMHGs9pzyfebtpi6XAOWqJQKYGMRM8Qpr2CategFa3ALTR6xYwMNSlTZ2JcHVbyZnt69AxRdyeB8jlpQHqRfy/L6R9fiMU+tVvS/dNAOV+i9N7A8DQ8hY9oCQsltPBOGwaeGBqzGzbbyYV+W6Sp2D5LbdfjHTay4G3PtEWqha3WEaHEcP4UPrW/PyqwV9MUikKiUwtQOTrEk9YVYa3kYPmTAO1/qQ9iiFELztZHhm5mIb89u+Ff0M+XZwQ6QSnz1c3lJwGoV4OnyfDCjdhuAMdKeGqh3U5bVZ9OcO4/U/pOPpvF7woiO9sITseNysEf8HUqNLdw0eCMOAxVJThxxyiTGzztME+Ikv1Qre+ciGOTg62TtJSLTbDQOZalwlw8TqIaZ3hIEOo/nbYeXlk2ZocJqpD/aDAk1IL8CGajE9CTFKqU/fgjrvIF60RPN04T04dSAeEUz+C+1mGvSYXiuGA/OM14vOHOwFj1E/oVbyo9TtYOdyfCNplCWHacJsmesVJj3cyq509qpPl6YxxFuEitwXWM5fkOSNW8buzK3qEA/JIW9jJanhlbeyqWHoKNVyL/fz6J0vNt5BBrTAqvTWRD11RtQkBEJv0JKjgFY3lmxKTnMesln3/SQiirlNnEMlUo97Jk+OsaopgNEZXTRML9wgUq/i+MkM6GWEHB1jeE+5wIE0ODn7PYq+vKaeAPlny9mS3F31ZexkgVsaQXEJS10HNt1+y9k6Utu+IAV2/l/X6u7CEupSR3xymb1C2yCuB5r9fWdUb4GUe93S3YMFC8d0eXEr8dGLU9KR0DzSEVonZtrrA6jcntuS+tuiIZT4VzS5eFQ+r+ix7p9fcX6oIpa9SbJFzVS16Ioq3+iIUxHI8975aCVM1uPYX5ob0doGNJ1FqVR7v0OAGSGuUmDndteTu+EMi8LsPzcehhZQhwrU1SJydPzJOa7DlmbjyBNUrFgZ8AWVe6Hz3dU7KHKGdaNkIaRp7LiJt0rnMeXSZ37xmE3mGLNzalqJu+4IfmnJgkfBq+dGP5N1hjqHFRyVkkvN1bJWcyKE7gVvUSKOsKmK708QAzYs/R641PDAG+y0F4OlW1kkjp8PUjA+rbSAg304eJ2SURZj8dtCrTcSf5fDYhaRBA9ZVyMvfFN/ACNBmveu/wEe9Wg1+0VpWP77CWGNqIQ/pH+ZHuf9WVb/KBJUqIte3V7vYrE7Nv/Obg8bNQqjSTVkJmTk4HBtRQkqYIcJwujWt4WGrtrqmWG9BENuGRC+LA/OzsZHFezxdsbNgT0sGZ39DrTGPzUiDJwzY4SjJQMhBKrPLHx5VDj4XVTQBqu3LXuQRscQZofGkO7tcM5WiFvmVHi6IQXbmH3lDh42LhvtpDx+259rcw86zknq6pa5/NI3ht3W6bWH8hGsBB9n2uajs7PUnOwGyotknNKtg1nQjDhtMjpcm6oCLp8DrSyn5L6JKxS7YwPYPq0Jz2sItp+THutLBIC5B7yLtPLLWIlxyU7Vdu3kBEliQfR9AGnKSaZcOLUBnrfGm1JWSoOr0EnUDdBszBbpydPRDxUmAh1iyZqwpBgF+0uPQyMk8HQ0gt5ghb/11s+NxXfQ9UiFHHXHkmAScSepYH2JDfQK6f3o2dh6HQQsfjb6zQTahC5z4x9T7YWBfp71vOFJhUSyWnIGbIzkg6qiKjWy3xdw/z2ZNwy3afZBw9SLUStbD2V0Go9DHlZTnE6N67S4wiTEQaT0ctAkfaruc+JJaO1i+RvHb6tOTUgW8mgQZyUAlvxxbt2pHk0sJGzIssxTrAWw94jD194xmwCAutMiprHLMmJDjUGjpsU1hyISAshI1Z3bjflczXABjiNZiCiqQhlYJ/KcVKA5gKEsrPxvyCILVcGd4MUK2Ri2TWzUXtp6EURiSnR3R5h52ZzqP0DabIFWHxEEsUg4hwqNioOhdPwIzMIHjdkA9TZpWBkvX5rmrVo0KNtD4m2/hv+9NPYq5F4dfbhTYkzsiH1HLKlKDxn1Kp15YmBA1GNvOH0MlkYN7c5qbgHhtODTqFf3RIkojAluC6yguMT7DFz5ZiO42TljVk18DNAjCwGltuSBCucNyWXG7XUS1OOfvGN+rryt6AkfjtkbYYWH4U8pqaq2gDuTMvHOjwJ6BpcskWyPSAdNCJLjnlhKR7f2hhXd+AVC/vbBuDYYzI7YB9FPGMDoFyjI8+/JnlE+Tc0SFkdt7cRcvtPebY5NzQbJQ/3th6YhbIOzoFZC130ezqFruyrplk065wRtkBOLn95kscQma0BuzN/caYYLWU/1qBnLwMwa+iKV8sLECqXkSmcrMORLXLnhbX+TFp3VOlq3IoVkEhIFPjIkFam1DWcGb5+wfhKgCMbp+wroOk32MPMnP8z6hzNCUh9h3bPi34Mn8LOOfPuTEm6YuSK4FMrrZcgzCypXw0QtVNH2IqUquKtbEBgN54YQbS2/8AuX7/WET4fwQUJ/FxK8bZ99LboPceJG9F+XwsKa9q7R7fSmnbmsb5A8Ga5NNe6IX3CWsH0qoo0xh06TOyUuIPAG0rqj4CGVerrE386Fu80yPPyh4MzBprNkt/LVCZCOpsC7AUre8Gju9oRg+087mkiZdSgG9j1A/tp1smZxJqn3XGhnaYnoQEtR3sP4BzQy1FM8Af8PJm7pM0a/DsqzECaGCxaLCgLNGSTnKNUV/x6ALTTRxkOcPLguY3N67Vla2MeuYtQ0iRR+aCxjT333jQc54P29MMqsTiY3eyHs3XmfAXu1UidfWFelkE7cjfdJ/ADzjs5z3UlLHGBKYqQBsoL5V37GaMjUu1NHahGyCJN8i764v/ybl9KwAhxSsLm9zhi6LWmX0WV2wqXkLkfWDyr1qjH2TatnqvoVIm1iMBNanWRoxi2GLvmiHck4VRFc7rD4SwvklOuHRbMtM806FwcKY4/wMEGNGKcxtMlHzJ2hVQi/vpsrPYDyDVNeVsisCObX/PAkwUr+xCf3ANOAJmVhc+rHKMqbBNSPaYe/goYPo2dwzmY16faHlhzKYhmNGJuH+Dv2gKMa3uwJ8t5b2Pd2puADbiay23IBGrfvz2n4AxfSH4QL1hgW+LqexDWxapinQ75XhKkvn3TQoXLNKgXsTQQcRLq3BiiMSBLO5WPO3Q2cRIq6Q9vgte1gmBQIPqDTEq5seN/nNW9Wtg5LJwQ3F1zGEcb7cprT2sLZ4WPbmh0VIiA3IbeA23g9DS4yCRwbwOCib30Y1CFJAL0LF/hvf3Usdb9nSa4uePEpkMYU+eIEEbEX2iP0ZEETmKHW7EDMq1XSsDWBRsiSWvxms9bRw6gjJkOAm6bjD6gEVtWaMpvhIY0N27GH+e++J1/U6xhzQA0SyQkicO5M3z40hrWq6E5Tj1iVOJuoLUswhmBt7ab8TUj7JJ8kdKk17VBy0AMnKXwpA8g+ib2VYz3e50sJWVKXKJpV/RihgaMYO1emJhbkHmAldG6vqYfQHLzttTymZEtfz2Tu4ynNu5L8uQWpEOYajVVLRTWQlSkSw97W+jL66IMELrWvBlVDLVMH37rEtZ4Z8udEbp6MF4lugEkJ2TazlJ8kY5nsdPM3aCCuOA7gzbK+LhDUzDbeiatXBGQMKfGz29xpxu1dlImIfumNtghmmSVr4GubdXz/6RztEiryUo06t7ZH60sECwMZEGhbuZUNucm63GixqrucOV7s2sp3aBXbyoLjMl6T7h/skyTa7fG2MU6STXNp8xpLPai1oPpa/6oW1MllL42N72uNOQDw0vnjGYSee8X00sHbVfcPcJrGVzqMgGySyS4LdU4LSmkbgyJLyqaqlqx+BCaAapsU99QGkTePFuIibW8lawdNtqOyABl0YIUfYD/PuYeU1xyMXO8uDDPXs1gOoOAI695UMsUc7ZrRyy5U/1thhct06XoyhISOi7N9UULMvjo4zroVu5Nwn9TXqYL2oubDDzBHbWsUP+QWPjoBJKNyAANYyBhlIJAnIaCl7dYdh2iWECW+/oW3VISGdgNFQfkuzHhiFAJnro/JzcIvRpn4NTVhdDwhk4Pcu8nY/jIY8g6FRWbMVAfJYiW/AOLsVJFZwikDexKMH+tbxELuLmj5ecuR2nSl3cHeNl8YVFLKDGoa5leFbRTUTW4UvQkcqai+32B87nmWY/L2xzUgiPOjg9TBXApzgQN/CZxW5ZJuUrF7QwoBVpWBBKp/E9TaHzEQc4SuLrNej7iMrI/GBSafph7h3Xn5m0Ui0VmwJF5NT7w+EVsfaLqmILbCgGAN/G67WoOihBc7YXzhoV8s72Q3LiUYjrAmlyRLFRI2N1rqqiIxk31bpoVisUumkfKxbGMVGb+M2CnNco2FXq0mhpa/iMRPSg22dLALLzJQcuMupA18HFbfE6vM+8z/mv3pKSLXYgdK3Qf9x8tx4wcJhw0/E81hgzveorpY+a8nikP8WRRYurHuOJD41McRTI1p7anu1G35TBrqg23BgczBVWyfaPwy23Blakxu5Cp1+hy+PIYyNdkpP6KgCbwZcm+058tSc++JOwklrIzyfbBeynovVp5hkUZNyG8eb7tPKFRsZcILQHGgsZbib/dR+75FjkkNhwG4G0/Lz/Yl9OrLlDKPgZxGeOvQg+fX0FCF8O/lZlTWXCQl6XsM1E3niQh7Y/zQXWER5LbaWv/Vwoc/BkZwM+vkJr/MsG+PmSqikHM59JXpVlhxvEaLzNWV59qOdpKPESV53CVlDr2bFl/UyhMT/nHjjOCid8EZ/xXgrB9GoYxqcClktJ+CM2gbRfznpru/NUCe7gMO/Ou6bXdM6iDUYr52/N8H6/Z1DHzrj37ULIqZrWRuamopkbwrivsIiowhhQIKl3BO2G8taGiFDbCq/Q+Z8mjDUtTEkIxPMc7vGi5zTv1W7Dg2WJ7qfoNAdgs3kXNlCA8fqiymzjfIO7z9msfHfhhgqwngdz5+ERCTO0dKLuoRfeVK4Ijnm1/sVUgUnlNup+1dywEDnirKUtUHmR/3jmp89SUlrehthOIPuymuugh5dPrdERJZ6vUupuQ0BpiB/GUXT3+iFfwW0pGYfS4Q0raLnv1Lg1v10CDRtNRiJkVur02ceprlF4eH27eIoFFkAq9WdOnsIf/ECLHWuhyOhZRgnSX2g+Mckf1Lfz5Ux4uHCOekUGTSQhLj5+EkjWQKl/lxHM7BfFfJqy132m9F0xyFGIqXIkf4KpMD3OilnRjYrSZwb2Qj4L1X98+zK0K4Y3IwdfzEdgWDmu9uAn2A/mWbKlsBTpbfBKEhcgvgVjklqNP2Uph/homVIvmreSAnWgGo8W3+q0yLRvVW418ZnEFOFNCI9XDD1RQMe2OggYcRpOe/HzU70KY7PhHdD+N50H14dyJVHTHlMi7mdygDGMncIe14VBWGFHQklKR0rXA2FNWs6M0on/u+2NAdmOCf6cqzgIEP2mcOHWLVpa3sQVbA/R72S5C12y+t1eKaBXvT9WZEeWOjtZqqwdNlU0ag57XDxHpov/uWZPegdh/slYx0omVWOLDsun6SMX9S4hQTT/oYLNdXqlKBsbvUYF36sfN5U252qalj2ugFUF3NkMqT2nkFJru2OKtC6HImaWqVB9RJ6wnEy2o04f/H6Qv2gzm/07B50SeLC4s5HmmfiAZ8pIdsQ6y2PY1kxGb1QoXYls6IrOfDfnlgLCgoB4k5+qSfCfCqDM0ApJFJrcE0rq/UKkz+aT6Of4C1MCdqZq/CYiMpmEBStjOlKWbdRm+ezZUJ368XerKo0AZ/sFOrT7bkgWEj4dyxVwsQ5p7YpaOPT0jiBm4S7AM8lWYIHs/TdqWzNpzoOQBhyrBzmhNZtb/psW8++Pt5XUcnjMLworVdo+UR/yfmWl7zSUsT76fPV2G+ehaBVWH0HD6oTi9hC3WGhSLTah653zrh4nwyPLJEwMXCHac6BIV+HjJm9H1oRb1tAOMZIVWUalpK7eSSHx83aNyIw7RKqspf4Fr7fCjZ2px3AyWV+DRbrxsPJZaL93x2k7wvTSOBTeOxVRZkSUVJ9UaBmAD++DR38f3C8LOL8evvq0H5S1o+LfNiQ8Y68K3QqDaZ0SqhymenG/8FFyg+psEKgjsLAhAXBZtULw4M4L7do0J0IIS5RYYNc5EqndUp3aKRF1XyfV8rbLlD07fy6juCYg5GD8a1f4vj9KU6qcqgyd+v6MeQRmAiRo4AHURo0T2xfCufEshO72csbTwbfNxl4bwVwsyNJjMLrM4tXpvqzCKWjucOg0XRdFQHQ+N4zT3xbOYFNVDWWJMnuUHVwxRMoLKVQbvP/TigB2Vpcdfjxd3r03C+itZ+G94gNr06E1Q8AYpDd+QEUDFR4ZUXbUVfKrxXN1w+vqRbW9OhV9pAJ+g/VV/h2QVNylfspul7mTBf6kXK96lfv3Hde8VAAdaq9oFS7ADCXjLI5qMSKqBg5RZ0VRqCNbtH5K+lof3HxDi2fYv072SA73HqkjZo//2vvVVLXKmTBtyqT3tkqgm13AZL+UdZrVVdCIma0cXrNWXwvmmONt8nHE4RxDRGePYRXFqkb/AVC1gfpa+H5rNmPgY/fK9qCUYLuTsR9kDWGSULtgkErdnDCWcuXp5PyA6OucuVmxrb3n2L2OHXg63z1/d7mtg4l8lZyWEK32P+cu4OCjXEUjGIdR3elUblut74JxMU2QAfxfruM5uhO9kcuBdS1VZJfl0JCr5q1E1+si+q1j3jFiCVgSYqRkWpR5P72A2IMM0XO0YnsxE/b0nFaTg72lRKZtL7EMvSG1uCJGVIA2r+FLTeO9CyfvRLv1Sx2OYK3PHTP355BMzKkUDGdmLZNFL6y6pz8aFcy2YkP6oj2ieJ0nwXPZEBj0KQqp1Fsb/rpo5Im5yeY/+tTB/gjbnEdKJST4AD28fRAqR3HWu7xbqv+st/XX+3avoJslWN6X3/MgUOsqP6IY5nGrkxBNd7kQ0LI6znCXPHiiNoQHXgGkZOTM7oZ9BsBQTNoNOHf342Zmc0xkUs71/xzimUZRhri+hcKhZbXnFNtHHPj4iY077Y5kSd0sM3sfjLa65N58hWenXknXff4rjJ0x1EMPKpoxNVBQ7SIr2m7Gm3V7zkKcqGThwnAbg4lgw2ZaGWeZ9E57TkB2Ts3srbM6iBIDa3o7lLrlhbirOX2tks11NxAPTRau6DE05Z0OQw4I07zxMcByCwePLyv/qeLxqv+P+Bq2G0sihcASLP8pEki3vDZOsl4aCGKmH4yLGdZPhAh8S/88FXS2nAG6F0ltVslfjTb1+S6B3kCnIeyWoQE+RLUUtx4P1CmMBVgjCly8g3RGjXFs2CT28aQ8sxjt3vvHWIEZSZMeufZrXBBq0BHSncmALhzRQZzDP/gfVBItefwb8i+CEMPd8VjlFHuTYKXVya1WjahKodTzxYqfCicXQ+chilDDXuJ+MTWsmc3pwwO1Te3UHM7y2s7je877Jj0ZZ2z6wjse/yjn7Q25YPP2KRPxMclAHzgXWmfYCjM3+HCOEGAmppK4UdNjQqpjLvphS5r3++1tY110UKbe08ZvB7cIPlSXoRzxT/cBca9plrVaf6S6MTvORmX043m8fGpGBEIWuKucVYxiXWZG5rkEPTHrETwVlgDn2t+4vyjI6xsRWSxVgsRG/9ynfmZXAJYeYzKfeOA3WIhuwmUmY6SlG0xIymfkE+yj2tPQCWBGsRCODUAX7wxBXeK7QPve33ViFkto7mbRgTn1PMoF+R5b0rPNgklP39/Sp8ag+QbbYSp0Y82yjGz7nhGAtETN7TMJdp6ylNxf5rbr+KTrIM4MNNVRe6IHIL79YvndmBdMD+HSjBy/HNWO/+1JOh2d0wC4ut9emeobd6gJEBmEFfiPpbPu0Wk/OmtBhquB/FJFbpshyHS60lbAWJobBYS729crexA/eEsobSfhmUlYNT67Y8FU6Hhbrie0EFTYMkfh8tFBtffBMhzvV6+yRyklANQBmpyA384hD0j2eO40avNp/elBFwMcpOj00WjMvs1VHlEvslVqc04rIwHIGp1X9LCvM+bhi7UPTJ9VSW1uaYQ99kGakrriSSUMbt0O2DA8IdSyEBn+TZMiILQdzC4eVU2k70S9FkA+dIKnvmKQuye/6lj20+my88GA0XDRMhR3mcJo8TCGJho5YEuYyiwZnnpks5IUUQA9WZo0Rm5/58y9rsYchTYQyp8o8kHpkr5gEyAQle1ikDGjW/L6g+4qLNElFbEZe08foa9e8pjc+UINLVIHIXJ+TG3/8JGDU9+PfgowK4zm2HKpVO77v2n2cn+dnMpPnhcR7OZHS/1PMQQ8XBdB+BY/wy58ikeAAxI6RPDOkoC0dr1g7KueyZVgBIZWBY6B0XwNo1QtznSJn3HZeokJllKUx2jvFuI2+GgsBrodKNaPZeIvtv5eojazhNBfJQEOQm5d3kfnGQ6zZuuUlMzzUSomhTIm0X1NxGqk5W4F4dx+kwNJkp5/+d4V8LvLT9EeGSVjANVUBezpd4Ne+SGQ8mIrFTfgK9ZgWTdYSql/eODD8r+KplqBGLqHmvHCMxxab71Cwrunbvh9nAiv/vUuMO3WjhnLfeysuvw6sutfT3ZkBErO7UOFKLw6nhRp/SkIOFTfcBiJfeZ53aQ0SIAO1kf8vgcYt1jfMfqnFZnVgLo/zgMdzx4TpTlP25WN9JmNdDj1g4hBg6zcS4gwOsDRAqqHyV8sbu+MxvXSYmcJuWnnYvbk8G6MG65sPBxFRmMpf51indo9ZiKodBaB/n74t29hZpwtwmdd3xFxtawBRzj7ZfhlYzsUCRVnFQUq1I/vRrcp6ZDYPKO0ktFOztsVWOqysGroEablRXhwMNOOjS0prEigIRieU32aPnwxXQOxOF6ChvZa2pqR1/ReMurFdA6huli24xUkOQe0OmOOcP1i2n3ptTxhhipHxGweq+6Wmet56p1yJJ12dbpsnVJzRx1epwP7ZMQB7aG6uXrlm7BZwNJKipY07rncUk59Lf/h0pkkGSvjJpuHcXKDU/+ATLQOalPMyq6D5tVx4FrqKg3UKnShh7zfYa8aLiMJTJTt5LkoL+ZobqXnR3LpAyZ+ufSGVot1+nOwELfIq1LGjAax3Uce1ZG+OlNPp0aZzOKeqksjm6lPeY4L7VPmIxW3tq8HabEauauCcEAV+fqnNL6to/GJ3LUrhiUnBFdTeVisU1Z5kMJ+Fpev/n1Ty10An6gb048R7XXV/pCTrxUktv/T1ODp1UpPSWMuLMPjgZ/XgfJhGyOqcsaVMbD+4RDh8XxAc8VYfL9VeDpK25VZteiZ4y1cC+2kN0yZ6pjJyefPA07UlWZmE+EbtxsDsbmUS987dul8IDvgsQav5OEaIHcFINFEdBxOrLR269Rzy2B9SiXACtPsFDNfC6Erz5bquxuIlwCkaG4NStTIxLh9Dzwzp753TW9rvY8hGITnWVpT5O7lRN19x+SroI54vyUvgUO20GN4fmHYi+fPqxXa73oMhXskKtw8cNtgwzt1yWYhbR92gSnTuuSrLbG2Fu4xxRXEDuR3f1YUbgDLEihNMPulmJPTnlBpiZj3ofoiUibdZjk09IKjGl8jDAwXBy4Jw1TvSXa++XYzfGZZWF4gj/1/rEDs51Ql84rFZVGEPW3GlMjvRNUPjy8jGNNrz08QoCldweGhWLphKiTyk9rPdI6Z6ERXJCD4ep5nW5xd2qGUkl/1VAXixd4oqW3H3+dT6/CDOMJo8q6d0pTa4zHQrLjtmghS5Pgw/OV6loPhVjIt1xe1VefOBoWxpCOcz3Vp8/pbAw0pEtaKz6qgPt8q3HyxwXjxmaK7cyQvVRRjA7+VocgN0l9YLz+EU72v9XaaoDE+Hqetw+BkzgFnETpqRrYtrwyCaQp4tjjr53EJxANMnjM8oPg+pt14uq2RqYoRmGZr3yZSv7PMcIIOd0UjFXFKZdkqxKnKLASNdjp4i0eBlW4+Pu56maiDEdUK4M/BbynZ7qbHqsCNVHwoSZHlDz1rt1QRxSih8ow1Gox2Eb1YJgBbS17qdXcoEIZU29zCmbVZN0H6gS2TWkIUWnppl619RDBY+PKZDcxHDey0zh6UGjSi/lvaWE+HCLeVhRRNbOoHxZtrHJfPhdNgt1/iORLnQEpOte1Cjzleirp2X8fkFjjWKQVSm+6eC++oQImgIL3LWfPXfiybGsaTz3E0RqrvTuh4YKnYJK8L62B59kzAZtpnvP6XJ64cptCLSFw9Dwp/99n3Ecxb/gKsuYDGIcB9zvrXk4CGtEMsBSUEGxL8I5x+6uN8JbSp9IN8e8WGYHFFWQRItwn7MgR1Ga7A74vO3tK7O7ry6ZqBhDoL1Ri7f/QG2jzG+ks5yOr+I3siWQvmQqZ4KoBRqLq0DbwmjrmuUpFKXN7fC9ysxaZUl6kJeiOqMOIKpFsCg8FDivWt35+GvoTokTcL12+fux2g1ZXFv9abHiuJFkRMLLtIVOWlvLiRiSCmFZOEfydUMGS3HIL2ptem/SmFVIJFSYCjk8aj/gyeUDpy3JQiu+Ob3EX6dlVBs9bNw++jFDKT0ZfazwVr/jGpo9zMTNlh3rpjf9InuWxBESNsNeetbB1Ko2ZBi61fsLMWORoDaDjnQfCY++wfHaFpcY/I1+qnPZwt1Cyj4Hy7MfdFt2+S83V2+YhqtKf6t/dTx/qnSFPdGpuywrz4HgVnTVyQtOMGZmHPpj0PPtSIVnJcrGPqvTw1H8GmkJdUtJbuta5+Quv0ep4v7JoOhQJ5FeA5GhJWjZNwFmGhp0roOSC40wNMJaaf1k3M8GDVgj6dffvoxvyI5Fib49avDuhw2JlVaQJnX2Ag7WWMpauA01d6RugI1SJ8trS9sugGWhOA3cnXbgNSQE8WCfrsVrMY8f9TrAcd4VjLx+ZkfxJQjqUDBXNu+UZ3YuJlwRcuq94c1B8KkDM3Qdghqgw+Ss7Uq1WUEnWh9oRuE19jGDnaUrjWWshBDZCPYliwaYid09ogNv1mVZd8I3tWUjA16Wdl02YdCfrlHdxNGNvrjN/rX9cu4xTxDzkzuKJ3nVojEARZ7VSybsW2LE0kM/YVZdmZUtEIN/0u71NltD8mULZjUo2x2H+cZZfuW4HD8pxw8XeWKb+6wib355EN7aaBnGIGQ5PjQLDdWIQFtp2XHi9TRm8qa4Y69BOlBDd1dQacLeUYM+sLmsEH7BrVLZIVExp+yVbxsUjBEOj1QYrcyXFqa4bc+5qtOEPqCDbtVYnYIY179r7U+B9T5xkRCiGZh4h2xj0Bu89R2+PkXF+95cQkJxqNtwAOGMpgMHvQyqbjg2EEsFER9kSocEwNC2/1IXXCeGcJhfpFXBm3eAZSSTcfa6BTYAPPRKJKXMxGkhP79drCbAFGX8mZx8z4rBwYZi8PQuN5pEomjT2Y3A1ceeVWG7N8NTkLuo5AC9d+CknpsFTceC87fj+P8uLdLOExoWUvLbVuKhk2b7SAPTrA3EP0Mz49FL9pKfE4qextTljlQM64p9Ym0XhpLsQ5ZSTg9+9AIQYv/lXMzPkcSFQb8JYqQBDrNv8rd00/wYBJGysTlTXqCXkru7qJFor+/n8Vd5Qdod4fzcehh7avqY+XhxQ3jxHTot94j6aXxEcaLWuDR6VD8BlGkuRL8cOpBwZnkml4yzyXeMY7ZbcwHMdVC19jNTJZPAvtsrrIwm/8gKx7Do1ZdtAaHy5t4J3pZkhUyjmkqvMTozqJf6qL6mM8NF84FfMVW7/bMOs0wXb3jmY6pcJ6NIHwINEESQWmzWRqx0cnR1MMo+UhX+THu3U4FRiFyOgzMsrijj4QB+Y1wUEhuhF1/NA5QUcL6uGpky/khMX8YGTGqFBCLQiGoxI4VRqjVYjvW610fhMNOXUNnwUAms4qZ+UdC0cWyFvQqkQ45hKNEHdSV+B3BElZiIUqIZjpUJdekCo1yQ63nLS8js67VVZ4d8etX2LLm2S/YMaDGj7virltzB4OEzsAgKk6kdCvDDnTcdkqXSMQUERG6sRwW2RwhG1iF3DG31uwNY9wdeKQySgKHauVNWCEcGU1EptuMMMbCJrojFie39pO8GxbZNKbgunFYv8444yk1GrZuOS8tBmZY8tpeGohFNSfQ/gDnO1dcaMzHd7G4Fo9/OW8J+RLxoPDt/l0qrrqFHahBNGDZixKiqd1ir/e7hDT8vdV5eqWPTYu7f7zTRPXe3TKftInDVtelcbmoip3NZ/WRilDWddcGqcGTrAWIusk8buBHXqGdDgmvkoySl+cc2u2P50oB5FLFX2II5MKsiUXzvLWzgzmavviuCtuFKOdYyHiq5NGS+JmlzsQhJBxOG1mKlfCcy7rLnwH50DcdjfFiBAchJ1NnUiI+tT88d1y+QCa4WM9/dFde7ls0AWcuBSOBPZ4RLSwzGWTkho5RvkSchcwsHDfaB4T/KBcFNLn/G/dYYIl9nty4QrypLaygTUzn5vCXtep2A6f1m9o3pb1gB20H6Rfj+qq2zUkRMTkj+YZbyvEDHfPJkrcnSrb+NOaTzMkPV/WJCLusV5neyMxjKYYmPF2nMbcSdoB0o4Kb3tOrFddAgW/lb/JO6Fg/jJ+WuTc6mRC2tJDUtiLmu0LKPV1BM4O0Mss/WythmMOV9EJ6OtEb1gvLu64/IWb+MMbEj+korxnrYIl3vlB0CKckx6V4RLcSUn3eG2dyLwFymsN2mtt8cvjiyMOrvkYlHNeIybfjt0C8onv158xFSPvPfUZe24y+hdLOJ+KkHbc7SlDTk1jwt7VqQh+ihQS/YHxvZyGaACnl0YA7ScN07M/4UjtViu1flAWpp+YPcq7v7Sqp+xlE/c5itVTHIHwZl1fn2Z3KhLqOGXbNMLBndygb9+YBq0+IDtmvgeuT2g93HYoqXbbPeOUVZuKEzD2CBFd7sZpvpkx7kdfjFeB4kL0mVyUV2pTQ912RVHgJ41nU8UEzg4rt/bImhvXLslKmgOQSUU+fkJmA46Kb5hSgpnGbeVCTvFBrr1lchu0lZxbWFdJV7xyywZ/UhgOBpcRpCgIsAD+VNiT4Er+NgD3Z1ZTo4ekzlYRsPmCXVWarRdNvfI37vRGXCTWFoNWGSiRJV8Mq9hbl0VwLtpc+UlBZedsaR52dHh0KDOpC1LhTie1ZvpDhw7O8dykFYl/A9DaEQqKjOCnjgyY9bz/jb/cnL8izj3gvQKpAH0nICyQ5R6IkdPe0bAJYdlI5ICO1kwYeZofx1ACSxoS7FwSuJt3OlzAr1Y0ReLWT43+qM2UZkniGh6XnmJjPLeWPu2YiJocHnqkbFZvsYJba4iuY14ZAmm8KG4yUBHLicW4CqrVRyxoCr9pyiV0iGVswl3sfAkDBMVFnieY24xlXknu4wzYfgFY70gC+y4Qv7Tr+6Ww67N3/jsh6E07hW6s3OmRLcS11Sihi4B2p5gRaOsSJ6T7Jnt7Zyn4kIKmmM69SuPAngZVQ8t7pocEGV+jcF7vCDrLroZrg3S5V5CnYs9QrQa+EYHRG3R2pn2MClWc05Prx08+Fb2et47cSaBbc3++IoVBzywmTMgm3LBSuwQzsoRP/71suW6H2gJU6gXDZVGLdVelp7BWHF0ddkzEMKuc8d2IkDpEf11GEfW1/nLumKQV0wr7hr2idEC/Qp4kV/Tvo1tp+fMrJWBo+fPT7v8l4dMp3+tMbTRe5ID2kzhoFPJnIY5ctqCRyJKZhBOm8hv4YdN0zzp1L+ZWzIjWaEVZDTNJheHyeG/2XhWHRhw9PQ+GCPEd5oEz1WJ4A/VceJiPJ3QObaOxhwaQMr/q8OGwdphyJFM26Slsv5BTD8Ro95gRZ9dclgQKAB255dndZRxD9laeHepT1sS7eI8pYhLl1K+j2gN6ytl81yFbf1vmUicJNGgsgpvEZXbbh6mBfOfx/KaL7zdYFm45XC3n6tZ9TdO/QKnOny46EaEcuOOsXuayO9B//FKPMlcIzxoBD0yeGQM7+8ZeJ4ki1x+fSlh7NOUG8yg3fL7KnV+Y1j56P2M3v45p2ZNfBlRiLCr/3RalKJB/CRkLrnRQiUG6Gp8Vnbb+YJ8f7eYkRMbZIPMtlU561I2fSin55oR95vLGeKlVEAzhm2iI7o6f51a57iQo8Em33WmTQyIYqdZ86Ne22MP6OlI36/CKsNgcGU46hz39QAvzGnQT5kEkC3PKrUNTxgfbJmlZosEWd545TcVK0gfDiNRv77440uzNazqkkU1w/Xz5zQeD7oIJ3klCvT8yiGm5X83zapzHOLFs2AlQo1NSeplYIAruckrKAjz6s5/EqBZYY/HLLPSBpQQFWy/t2C70zlBNmN2YxJnEt3VE175P4x27SlpK6/y42S+HWyBHReo1oznw0uUf0xDQYuYovvidmejL267aY3N4ZI/o6Pm3xqXHBgpO35/IXGryYr6bpy/h+YEFEFM538TwTabpyE4w4GqWaDkQWI0OTdez7IdEyPAgGOdB3cqXaefrsZMnnPEo5p30/mtJwrCoN/tOjn6qr00I21gER28E4CLVEM9mVRAB6WaHyaK1bHLBgURrgyXIWEBZYVej0eEgG10LgVvSfqNHB9w5mrz1zbmzEWlB+HRZ17MBJgePApqaNPNiQIu83AGYxliBNZZK+qHDzEBDtdpNV5wGnHIw6dUG2OleLrOFjH7awvZvdAZenAQ1xvC1sxWnjz4Pes1hkdCG/4VuPURApqiaqZWCAvJy5cIufudqG/KnP34BPQGEepoQmZK3R0C8UoU3jHrrxQNUuI+gw12O31iXNtn0LYpylfhSqen1tGaN+od5qSolqJV8ONARZkPb+lRJNuXeDdyYEc9mzPiuCSy3RV4uMaXOaGcGlRyAs6c5oVANUy1ldyHDEpg+ppDwMHbr7bBDUzJ7PUi3L1BboFofRUfOQ+pdQVvK3E8QGGyWaJb3znvz5CdCaLWO5dYL3c7u1gnPdSdhAoGX2YMxaneOMkBTGJ8gCHymQr5FOg2oha5j4EfeEzPj8cq1a/pWg+mtSuZ99uTha/K3AcQvgeZMvYcaRzbF3BrhQi63vTnbNwUMAm2TrR8W2akRBf+CUn6rGPA9x/1PYgZSKZ6hvWBtUIcVv017oMReUvfPTDq8zOoDT2ZTbAuSEMZrnMUMfLQijxQonovBGXE+PzOm0pw6A8A43OohFGl8CEUbF2mfa4zCdeEU+Hfd7itdYARtrzLNRwDKpIKfeNPSXW+oyqpca9ZkB31Z8fFBCna95JFMsaJAFDUMdLM47EPFrYPyfeAttMHAqQjmEyayn2Qc8AQCUJmqoeLlZJUqFsXgOBcMIDNZQ+SRo1Wb0CfPOYGzIXdtkpjwUBWrJzGJyGHnA3/14KP4GMMotsXYWYWtV57tawBqpHsp4ohVl/dMI6UIbY96tSf5vIB8FnhrzLZ84lPR33QITQSm64epCxKCdTbqYjxpHigGi6DxS3u11O+FcxN0oYdXdDW6OeBdEk/U7rSbFrzOipHdVQi1FXlEy0jxCnxf7KQBdeejTllS60TtsScXKl1emvWCYZ8BSPhdk6NrzrdEBScLibLqRo4IgLYj2LDvwh40FaAsbvqiD72HyQCCacmSgWjLPeRGPeakbRk9s3TlzvOAjJZ6fbNbBTcaybui7zbvEEgNDXDtuBvmlMH3f2Dy8Kq+BukPcnuptvYl9fdzgL3Ei5g8RZkRV/kaTh9c0ZKcJjsQOwsHSOxbXawzT1DIPzXnsIyFOve8qpBjnP9TjS5LriU+JZhOjTpy9m3FHyJQ13w0UnB8Ph72eaGep/GZXuxMyv2mHfI86Jogw99CPfF2WDMBdUw1WCFs/Gi7+Qhn19G3W4Gbh2/7g4MJxiOjF2wjGztps85OeHDgIiG9/vpPthpQBUyVgHiCRSeu2d7uQl5+VVIrrbRjvXakguOdehnMjaw8QEqkm4hmDJ7TJXIlTGtBnKtZxWVv2Sh9oxvi+pPMpAOA20/tF0a+CtDRRfQQzHLxEVkv24jQZFK6Tm1Ift+vNyUi4RPELC8FbTRTmQNTmkBfsvxsrTpCkJUD6M3K01F8ogymYhyTy05fCauBgzbVhZkKhfS7JFQFFeR8M3rwmX1CaMCwg0RMDoaHzPobSm8xbBpb2os4xpE9NfTVqcK8HjOp0FEJzFWrQWpyTHjyFrFp2l+CCqeeH8bEtBQxYcLlVky3ga2NokBy7mf3Wj4JB4B5N7OS0QTiSpbzWZ5TYZX1u7u8qSBaG4KyBbHKmXHSK8sbRD3W3oT9kncyND6PyFZJe5dZOeJXzflaWfT3w4WbcN7Kill9rvzr02oPV+Sj1KINCSeg63krrqNt56ggktKqRUTOVP/8FEo+4yZ5TYGfSsagyfeKvEIjBI7NuNY4vyNzUR4wPRaFlbnf444nwlGRpsMslPqZi+O45foQFK/DykKfSrxlk+i7L6sUvKhVNGpAVFPRQ5J6OvZvzve8kqCoptL4p4j0fjHuzM60I3e1EU036Y4z7Pbs+wHOL7aSJCZaSQtecxC3AagAvxGl/qqYmtvVDW5Rx/76SuHmVUsb/MyQ0+gYd97lhbTfAOXZxX4hkWFys0DFiDFpHVcF0/L3U1KokvSgaEzEwBRBLXPORyYSTS2XvRvKL4T7Fs3Lp645vhHg1dnpLr4toT3jIeXq0YpqR0xFDdc2pc4y0PzC2/XOz3/mccplreH5jMTg0mZoYyTZDRrSiR6ciBLKuEqQKHEvEV3JLkO7QHP4WVOTiYkfMmO3mlhYDZstXwP1U0m3+dIIJZFJTyZAVozFP7Gt1QNJzs91SdVTjKmINn20w9RGIagiSE95FS00A5FY8KBcV1YW2knA8k4AcAArutJ3AkiNKU9H/V288Ati/YyBzfcJRTwSh2IZgk9qj7nWn+jFZXrazqKCqP+smMHB5C1gnDZM53Oo+J+WAoiamWE2EI/j4lhVq9ZiXfipA7folg9qNOBnkpP9V2LR7/5rjMcIHpj69lFdbn4rUT0G8sB3Q79L1au8rGVbyyxT2AKqKgH5qWSUlcp1rilbWyKe+RUonJSYtlRCj5k1dkFjyndCgoxsaVJ9OaDnzdfGh7eLCGruCmSf9gLD3bq9Y5q1ZyJYLanZVDl4yOEC9rc2WHeqaFNec50BjlSVfS3QP6z6sMsdIZayl6lTC6Lrr1iJjN8bhXZBng/lnYco+l4ReZuTJoOSsDLx6vyXxGEQJDtP3hP3xAzNfqXR8tkn9b5/ljy7aMebE2HK0A0BKbG14IZGSUBezlIPkipzbPOqY4qpfQqW8mNu5ZKukCaB74OInFZPMl65NdzKobzF2Jrl+6h7HheaD7lEnSUX2hT7xDIiQB9fWJLqqlEW1ob9eusUvJISbx3VEYdyNL0NcyBinR5PzuccwK9fIgluOJjyoLsHIO4/9970arhRwUmR/+S/WYiTAZzrBbQ36B5UxhWbpzrejS48T/uedzdlXdNODKSKIbNJz/ioBOYr/xkv63uILQncIR/6omVAGhSSZbTDwrVvDEbR1+KxFo1AxlY4ifOkg13dA3piYhgaseWJJV0cLuVEbAcImpEnkxaH7/9cB/+vR1qYWO4GDs/FdRu66MajEfV7rzqLxBuUaizMC/0VTzY37Fr3wWWEREjhc8Y2y7Adlke3219w8O+GvMZrUXx2LBMQ9+Yjy8yEeG1rsDoL4WpdkewG5uYJPvICU8opejkOnRe6jWaYm6pdJzgfIVqOwPnH93QgbqtXAnkrCvh3l6g2OqD0NiUh8EFmcPzlT0Y7qEJ7zgdYvulG7HkqOtnxx4kFrQY+AUerk5c94afcRMC8VesFMUFur2cv5DOvUMKwhRWWGwtdZHqgqVMu0MWtWKE0J8glault9mTOICv94D+7ATwJVdiBGj69/Crca8IpU+gyoqIc+b2XwHK4sGo815lVlbhU+84k2gwhWd1CEcYzy8xufopK9FIpF7lGjbHHnM60/vuo4FCPz7ui3xKcLRIRHkyP9S7X5J0AXSnfMNIXLwAXCE1OwNnK93nJ3HH70439jivjjDhp/RIQ9KWNpEqwgZvWer2z+LNy/O58QmU3y2xEiW3obpCSDKcf6eADuCeO9ArFuFHvAQsxNclreP1/ba9L2dhauv+JCWh2m8g/KM7liFm1D9oAWSclWC7Ya9KrHIOpLM1wXrMc569iXReKgYAYH8fUuxe/NUhp9UoPQAYYtMLjezjaGlv/CUSRHG15sOo4EdxrFW/7Q8IPv1f3Er0U5IO2kYgnwgXBYidXhI6S8cJ9jl7UsoQ3b0gyCvgji0C/3oGMAHh58u4EFvex9m35yFXSLFzpzDoC21Lc1xIAVrfJcWWvkl6wv4zuMJllfQUxLJypMZy8IrJLjpN4Fi69of7QME9/NZFPUWTD1xmevcpVfPOhrGKfYmP/EbehjM7DFnWTSVQB3+e2ERP0YHdMbSz1acJfD/3e+Si7cMwQoolFVYhc/9dp5uv2RLWuXiKARI0u3+22SXTzHYBCRJ/xHm47wsydsZfCeXbcf2LhddnoeSNSi27in7mlbOPtqKqe+jsdJfa+l3xSJIzDCZJhsdzIcgsHTjYpYoCd0cgMmL9ubAsQnwH9oPuM89FQR6XoTckZpgwg/XnCPm1b9c/khZzSBG/qcshWpbJ0NPdz/y5+h8jhvKzH/Q2V6MZEnOIww9QUBvdepry3N+KXrRljAaFrjq9FQVkIpiD3YiJP7cV3TPeQStqVbOzp49VHgQk8s7mTwFEAI01+IWSl5m1mMLEfxD9TnR72DTk/6upd/rRghQ8Z72qEceYK0AyJVYIn27Mr2IbmTp7t4IAWIql/nwsaW5Tlvlse+zYfiZGGLhq7cT+U6qXWuR/6mDXAtXzT8tPQAbz5p83mBtVpVm2aceym+mbl3Whxh/SAeHeLxSi+0zlQA2ri7+UtFrTWsWEg3NuUYVbE2hiC0A+xJSQrcHtE4qJ04wy8D9Y4QohwmvepBQwJzy2swZelXL3dhvn+ZnvAaQln+KCtK1bEr8wCBloF4uZSBNeC78gXlBWUL7LYJBjhnWs2lyo88M5s5crGC8eYyBDAEh5ItUFuvvTGWWUvYA6c3AJRtyapAGMB76sggxZmAfqaVG6paQ49obANSmVJrxN18621t+i2CC0woz7VOvf8e/bpiI38TJQ6NFlcPfX0Kihw8A4Vw4KTI7thtH3iTiNMEI7PxH1DREZPIjFTW5I22ClsRviV8NlTP7BvTp3wMlqOoxIHDn/b6cZUnR215la70SzmJlBpPm+G0npuc4QMPgvQMytIOUffaCmR517NkI/F5+PLyCOLYkkfdCHKI42nQ9IVbd9sHd9HRK/MRe/MgmwD1IUOd8Grc6nEKs3XBzUSJO0eQw7Cr1PRGjTxoYv49liqAg+zMlY711pWi6/qroWjx5s2E0/8hkql6GWMum4iWFBbJwQDQfxvxuUvUn5CkB5jPW9Q85EapAsR7dL/dRFHuEaZA7kjph/xd7uXHfAo3IH8UwDsGySXmhjNC2WRSDklI9OlWmXlI7LJOekqg+mAuoUqC6jJzZD9cnWZgY/g+0KmW2TSls6grHNyOQ9C275vM6yWHOgn0i3gXMVbjIxnIB0pysABAj2qTGubhZO7nDo7UO+Ut9sm29K28HBGIJjWi8wnOpR/uAMLJWXtR4FhS4+YJ5lQ3lKaY1rGXU0pBy5Aq8n0Z9yytIrIOnDhhwtemuhFwt9Jnp5GjI3zNicKAHxDNVsr7x8ulrMO+/SZFSCP3jHcj71XKo5yb0y6wT+kAF/CrxgMHKV0bFY7NGom+Xdun0RnkQdKaMohim+dGwJQpEmvp6QwwqujpjWgkYKk4uZWkUy3WGyeh0BbKzvT0hkqe7tn3ZxslbtRK7VnWVZn7lCi8w7eysLnFio8NacpV9a9n8Uwg19UXHbVdgFygvkre4bvIe/pLXeNkP8KoAAqRUOMCzptDdnJ9hLEPiuSRwnpYHZSuhvoKFgTtV94y71XxO0HO8B4JMfDEAPdW4gvIKYUVeNZkvFUL9R6Z4xGoxfv9GbC/LsQ/ia0hopcZ4CqfHYMlqDihMC/yVz+DDEHqsWxvhGku9TY8jP0fqJtKbBM9Pu4YCVbqDL8BeLPx51Hqu/YsqJt22xtc6zmWe1dy+tnlcn6dEmXxA+2sbGGjP+ikGcgOoU+5c/poXdrUKQiJEMNM9KKfq7JIogsRnVDkOpOVxOUXg5hAOtp9ePDh0v5ty5bj4Khj7cgZV3Vx+id0g/w90C02Aujv1TIcsWbYoNFxvZmkXD5wEboPZ41OJG6vmHAaf+Xh02R1Gi8OhtY9mtxGcHeBgjlXJD09OQDklqEj2eTiIO6dO5mZAcFydGx03rkgwVyRNTMTp4CijUGZutjaBYZ59bwbWTRXIi2ap8Suo+Df0F1D5ubtkOer5pnP/ROi4VqXhMZ+XsDKyUR0nw4W6hS9YYtiEHUreBa0F73QPjvWaTwU5agoP+yXX0PPqhFsaBY22KT5/epWVyU50hH0BxF+ZhD/kzoAFxpvreFYRz5dSrejxlF+2o/oQqJGLQHlJ0VQmopY/VE7JBu0iwIeHcsYByY1bkTOH4Z69rntOVSYARKAMTPCJQ8BeJjb27nguwb2yI5G81WxSD4vBpKtnqT6vztYEF/0kAeugXtd5fLQaRiKwCL74yTALUNKVQgb5b/92CqextLtvHFMdfSIS0LMiPs4jT4lCR87xmmbMNPLemYbyMvEtwS6HDdMYD4ijXJZG3HOEuilDy2RmYAk/Nsu7uguXo2zqxEB/AGxX4O55tWHYPMdxo372zfD9P/0vLCqXrTr+DWNkzc8ITHRoTjJQp1YnNrLSQ9UKDXCbNjOBqp3uBQOXv5hnYiplfSh3JIbyWnFybCIfmePaGRW7s1BafJ62IerN/VO7YiEm5ByjX8ZPMghijAtBjcv2XGdBrwbIcvXM/KrJzRPz0dOZ03iPI178mlq8JvA4hPnmfV5CJXhCFa5+YHhSz+o0Q+ItQUwADCjNcgjlufImGzAN54Vxezchicx/yUkSfhce/Tj70l6ufSxjwsUve/mSP3FiVaigJpj7AkPHjoum6bD6PSWijHOMRr5syp7vjEw3RGVNgr3tsAEQZ+bxMa3b3+iOmGZ56iTZnbzQjQOUJZvdlcXeeO9P0iYYGQkEU9q3/1oeewvSEvK+n4W2dp/s21IR6RE7PNooa+JKxXTK5RtkbhTbR1Pzdgv34NcinRt1opt/hebk0h1PpDT5acClOSJVg/b/WGqqa5ubbFKhXWARgE1XhRvpNCf8985fUWoXNAKWUON3Kjaeg+njnwXjW1h3KrtVATvf35ctDBOSb8V98ufwsOQKhK0owZ2aFgREDpiFGFRFUbwGZ8ie67K8gYafPqu18QbRCMnOgCamVIDoUYYoB2+UV02j7G9oaimzbDTu+bI3HW/nGvB6KLM1WJnUZsQwb7FKtOX5wfS0R8lNRaOy+KHTrYhy4sxO8nXtq0Ey6nLrTQPJpTqn2nLTaSKnSXZkBDM18Ulj7vE86MRflI+0cPel6Yw/EUFNfBd/ceizD/MpRb8hxLKLaZueexhZKDWUICW/P0f/DbaH6Fk2Pp/MRtpMu3IzAO3nlrnFd2yGJmHgsDYcTg6Ht3LuZQxHdDM6f/obJbsV/RXyFo3fEm2aKfrQzsAl7xO0qdh2t5bgLGjxch3K7fU6XaZc0xdJz4ZNuw/5ng65QRQ7QVfv83tFDKFucVVbSwyInxX2/VASTGrHg0VLDPRKvhSeG8UBMJE0wbSliFqkIpCS669nuVMdfSMBXZn+CC0W+/t3PlmjqlEauFVHglThRrAKIvSzm8Iy0+QDiYwvagvt7bLIHfDipFGuUULr5g8OqtEZgEwZjTsh97Gf8a+4gvL7P4RRjceTTMj2ELbKdUiFkY+js5pP5Y7QvUadr+NjX8W+bZtecs5kNvuolHo2GppGTYMfKWv0bHYPYKV/SuvFRm59iBqyeSAwERY4UPvw6JzmDL0j6hvI7T1JwoXIhIpDBGrWuT0g/QJFWJfRyE7IwQJY0Kof+coFEILFL1u6YW8hczN817fPxhboW2ZByXQqvAKMhqRHpwwcFofseVI4fKJEGqxL7WBrQbH+Z27FW3v+nQGom2uL9zp/3c0WvUue073u7WO89j44XmrUL+rsXUpNn4Zaw+VQfo1OcMMEXICuHE9uRxdMzLrNjN3baIx8tI61pc4JZB099GL2LhBNcEVIl5ErlihPDa5WQhDLE2zxmIyUjKyzrus8fSBSMmo+ZiKN5JVk7kR9mMIIZ/1VBFDmqDsgKzqRog+Eygf3YP79hqe45V8HNqo/HTKoYfRt78E/CgzM4Qpchb5vBOuIJRAWBuUFoIr9XZe2B4F6U84lr3e+wK13FjUHJ22wxDKWwkdh17yR3HVEuyX5L6OypFP7XMdxBYJGC4VJ6Hlojief/sAgX+wft+oByRHeWKABlCThV/8w5qFE2SQCb8c5KVdvfK64t4drVJV8YbQTNes8i4B3UbdU/ARE1Id9oAMueZ5Q5u7dl7kh4yGRsPGFn0gkiYmnEnYneG7JrC6pIbEGvF7sk0tSsiIBCroRezAw1llFyC2vQh2/eOkY5bAXQnKF4qNjw3xdVCZYWEIaaOlddP8oDa663bQ0CveEW0XAaM0dGTir8Kjce+lxpUgcj0FEjS+WBGflmk6S9puMMgvrD7shrfFSEOgelkl/QEdEMibrDzc+ja69TAtIMIHPid3XwMLodzxL9W9Tw9vWH/ts9y4ERk9Yzbyx9c13EGx5gq/V8wm7lOHxCRfSfJRQAtRhdziaEDrpkaFmPjim0finbr5erpj4sFkS/i83DILCQKM5tsPrCT1KnFs9ZtEKInx+3L2CLcry3m/88+sgSrOV268Q9CH5Vmo7+tQHOl79sQqeDTdyS5pwl7qtsblWECaA8jSqG0PLBEtoyW1F0ze7g4s9cai777syBG8jaYt6qjFsegZTsLydK7J32+XLoSbVusPaMYco41RIUnfvbhsaCBqNPy/TY98QhLOV2b1j1uI9jKNbPngwpGZ9PmpBNR1Qtc5DeidaIF448iNv4PduU7oSJotqkcBE6Iamq4VODMx5Ud+lBz6KK5gk4uJPgtUxOm8s3qKrErAyffrehPmN1yZm1kFvmikc9S8gycltiaOHh1Tqc6ZhBlRBy7cGqJnVO6nYuaQjvWZfHDgONRi0tYpC7bzBkPZVhlz8xjLQGalzU5UAevAFSjBoGvHoIfc4+d06T4wXgXWrz4+4wAsudiQ7bPuLNOfimK/sQD+4zIdve4ClMJMJg3N4IIvI6Pw7pzFFR+Wlx7fMywRtNK0Djk6gVCEV2claA+kwbyR6CMcHmaQwYAyMmxKnIkzBd4uVOSuDkUsHA8zJPC6hXt3Y4pgsXxgNV6D1fSH0wa5rMu8M+fAuvG9P5jrTHvAQqIR4NNoL1FIlsQoXtoViRevCpBPud7RL+PoOfl6vdwWwZY2KyIt1PWh10KyRcDN3ZKYlDCRVo7gy8pe0EnuvDLQdHzapEbOe9l0zkMSDxJpUXLXX70t5wsHP8GjRrBth7LpbkS/8mYGNLvQzENcFg7FOa2z2UZ+44z+QIQ+yUiIGoDp7ZPTdDxJlyUuuUsLfXBgMpn3CR44lrQ6bq4s95fCf3Aq0KzLrZjHjSD5m5XQx9am0riUA8ga/JxJhSHC8WXhVGsyYr+n6Gv9fSzz1A8sem9bOixlfOybf6vl6GdrBLXLvNB7hRgdjTKFaE69jHefkatJ4GFpNG0Hyk0IqKwslgcdQe6RrA0wHmah9xnydUhE/8XxKgvnrR52tzFGHje7gweOjfMEV3sNYGJJNQ2RPE07BFvwmJVrFdEWI7sPmlt+dkMxFWohy2LeOnbT8vJ7J5pQSQdwOG7nRXa9Fbz8BNDIquvE7YY0bm7M80UDdhHlpI0SX64l7mMn8X0FlgbNHrjFdbARPHKhSHbt6VhJll4tZzhRe7q7HhxwfoENMpRFgy4LE2E/3EePsZwqe2EevA8keEpccbQO67QHR4BAz6UjOPCFZLun+WqRw21A8sarVKSlRe6Oc33A0JDAbQh0ioSd3w2y3FkOXFFZJZ/bhH/ivEab/4jbzjU+apcjGdgvUQnSJ6tND0tRT4poTZQsCORVmnSSa3zEkYnmJSygykRGfmSqUt5h/X8xZqGr6XYRYcXiREg6zX128x1V6yM0xgdf+Y74Bx4r4kQhLLQqyOHSYVZuX7wW6iNtluRYVRZ8FHsyYj6hXTwPf0hBMuuqhGX1+PXkV5qMyhdrN4Xxezvtyi69y1vvEKAsxUDVfUB+YJ0IRsm+11O0pCQg7UYhVjUcxoifKmcYwECjfie+i3vHRVF8Tx/rOEZF8jFNyzVs3lL85I3nnap2Ly6APlVwSHiSsGZxijA7bgP3K4aSn4VY5BBNrYpYQqVwIebhOyjozFtZDP67CzqmwBzAoltXqcQnTuhcFDeQJ0kgVbu2xPW7hNVqWBJKQwDjWUwJs5MQugA7ELwTQxTnnvSSur3LQuxlVAfTel47bpQaUawHyKQrmKkShyX43EELxjJrmNKuD4uruX3e3hhrFbUeeyHZhXl5+6KdK17UArN/GDt2TPjpRpXxGfUzyGuETGUNbOWgb3G/71qqezgOiehQk6EhilSFQ6qB9cGpOxXO+s02jlo1t3eLR50ArwqH11gfSb8+u4RLjmeBZx9P1sBDgpTioyXtNGgMYV+z60l6stuh80nNFyh+mH1WS20GTn89ZOIKnPGCR7Qcv6/dVYqXRS5eV3MTMvrRlngfogASlWE/NSB8pnicSV4MW99bANEy/+PXzCOwYF4pl/7TERBDIiYlkTt4xsdbAGUL4kNf2n1oxfiRcY7w7h9TRH51A5h/lpW2o8WCJzfzb3+h+XxLQgFMuP7tWD3k2yp4oezthCq4+UNJ1RTV0QBAOJ2a0vN3M3pVUDBq75cBYLNuE0wsvOnacDu1fQ/+WPpEwlvM74q7riHElFEeiS3Ld7GJcIjujeSj9T8Rsc7HhXWw3S4ECR8PErYhB/+1r418qwgYGJFD0LOZTtmKABSU4ZxVY7u8k2Z/zczY1HIUVDBXSaPdVnOGfg0tbROhTAYq/UzpWqBOd1Ybc+hiMdB/R3CDBX1QOqdp0eKJWUL3rMZ9GWV0lh1KHsTEUhrur0fPLUMgQ16LkypAet8oHMDp+fg6Lyfld/lTDd3Ow5szpIrtLqfQcZ6qXhl9+1ncMLxTwH+3PdWAXOskg0I1IquCvBqIGWhcYuT4tlZDNJGRCCAPVK5YUrRq/EZUaKcqkGFkTKyDvcF7+yE/fycWzkekMfjcOz2g+DE3LC8bLDUhmTTqBVlmlhIR2NMXSeHV9CAId4uU8pbEP0ideHqq9wtEm2MgZ+PDsinVQ9gme2eNcH8gQIxTvhJrUZKWtlFMWM22GhOqQ0ZBfNQyRhRBMgrdD9OVGtFMu+gdJ+Bc3B8+MIsqs2STDL1GzS7/wp/KVsJ/5pm49JMKyczrkI0qVOSlGRYFEHR3xLqdmlvYQSdjOkIZpwDOr1dhiScErPhFMARRsLTo6v3BAvi5WHy2Mk2RAia8tC2Cd9ySOhA0/RoaK7wgVHoge6bqb0H5tcILaBE99ldAbExicpoiapdioNcqS8NbSMRA/Bd99F73wM2Jv1lakZDl5EzduChHMlQsreD0Zy5dOvGGKhnoBd18kkZgO1pBnjsldOf6VW+eaA1T8bippXM0hxWMNzpL63hWuPDNVFXvkM/XbZ0i0JQApY/EHz4yydimJYtghuVLedw6jPQ3uDV6ckxVgjYwgDJ9+3HiGDFOI8aQ4hhdCjxFQd9NQlbJKCt2nGTdcJ6vH710iHgFkkcC3tqCvDWEihZiQQ7IHXVrzpU3QWX6XjoXWndUgluZoGWGJ5AtF8PH7kKHk49Kyij0kHLgmZkSFuUtrksXjXUjSUDwRHTOyqSF+pdZZlW2nxBgsLQsuyhrCWzy2yCH3GaeYFZBk39/K0kmaJ//XMzePApLh2OWLN/dfJatklhBjgnA+YXI9JWLs3uZh+52A8iHA6I3b0inAttD75ekqS1SXlxTI95pEPZj+lx9tb2r/OKo2XBgIpT5tyM+yRvfLzmkN9YWFSlz1cHo4RlVWRARp6nQPH3CcVTP5J7ADUrLJlpbKTXGUIkQjtiHoPf/BFDhu9Aoj8PkXfZdNKP3IYOn2m7IiM/HrNIAws6FI7tbYHIHb2xFDcEj336PtQ3HtUlslKvsPUVvQ94WhCpc/m39jsMvCI3vIeudWb2cmrDcVY/PQu8pDaa09EtaggwxDSUsNp0zZX96Uk4ZivOfD/ePFXkDU+PMHLoG0mw/ZVB2/2nKEHGISs1wDAwHbREmUYNMM7NHAjbPsQsdwBMeJDDsD7Y1c5ZHvV/x7XQrWlAl6PZmDDpboWA0eJKZzS8ozYhn8kRPFg//7wtItyo8bTZkZiAfXtiDzuyG9tyKt7H2Lx9bbHVoG93dVO/9nKPdjiEj5f7FiawxEW/vl2DP5h6yUoZnGNJucZwCVaRy3rkF1V2IuyUp81x5Q/Wgu3yLIewYErac4N0IttfDesf2FkFNSDfmL32UYlhqLTwntsvCG/SqnO6aOMAVVzrQthqnIH5dxDmz89R/MeRAziNrKrhwNttMidTAMaOqWtDsm24MgG20ysPz5RkxWrGFiXbAXizYzD65kegF1QpEUpDDMc3ozg0PPNgcQ/B+VPpjAARpErSNHFtZUC+bcDeC2xzEpcO66ia6GZErM6+BM8VttKqUZajPWPaf7g9B8X9N7v9vz+R1reyh38/+YKFXmpMgw12Uv5t8eWu4lqDwX7NgT6lVLPc+TxA2XLfhCXF6p364BWH8Soq4ENJG5CrtHBm7ZUvTddSP6UKCh9ir/yFLnJ7ZRH+mJrzSlq1oIG5A7bLCxH3PO3SgicjBWw7waDMg6BWJvDfC595svqA4c7acNQyXtrWqE/nFcwZ64IIDwwHMLVCk4FMn6frTKpLtcpVGiJYxY8VX95B/SQmf/AKLYM367zaHx3bGfGYy/H2djNzFGXbJak08i+IcdcR2BpFMXoNx9qh4fwhp4pqSOjgQ5NF+hsq/hvjAD/sovC4tvMx600qeGxp6OLNwodv0l7fglY5UAwKGhdRZkgyvolkTOtGGttSq85gdub1XgSPJm+1bQNiuJUv66VEsavYPPMx7BUIcK58bIyrCrvu7dzhtZCx3Cx6UpCabTRK0faU90qHXO2X6m8IqFke4qYu7vBUSJC6qvkshsyJgzFQWUIFNV7D+0sBATs+/7mr5uGmpP2EQOGWKUe3TQs5S9yZ6xefNPyJhgWe6NZJHgOEzIVJ0x0zp3sRFxszjp3wYMPHpzi9rbWBN/M3KGUsAy4lawW4RHKSPqARmuQqnpGmWI10jQFFKGJIgj92+mNGYzD6v5cNaWaf0G4GbdddZuBpumk6V1yDyv7uONI8YUYYjFQC2npYCVYO7tOhYjGn+GvOIK/HOCGZrN4T6APaDhMGTosMfbGRorp+4YqnB9RS7m/ey+FzSXhAqhp2d26B+bghbHAZw4iuffky3QUgf7r7OWQsOWLV0sUAxL77osKpxl+yQqDbh0DIcq/GNHRv8Us6LVG3JMFND9vZ7wjR+94orgf5wP970GZ0uF/NEpUW04EZ/Y8q6TYUE6NaL9/GA0WQV7ipk7C4uWV9vnX85+Ex02Js/W7VbmyzRCZ+bEpfQkiCKBCHh1l/7es1XhE6UuRf8rQWuoaKah9lZQg3gKlmcH7X6VCeo7SKdcxrP29zshKfgHrgZeTYVOZ+RhYQ4PWfTljeDPxxB89LqHGWfEDCiIxROF9S1Was1+/qp7R3AiBqoHLQ4l6o02kuTal3OeU2NxjKeOWdhzQUFhBg73OULHiSm6WcCoCawfoqxgrKyka74iAl26jHyJCmd7S++uTSVQ9FoObzplnvk3VwlVF8hhVFslkU92MHZD5mjRQvwb1YPhImDZ9QYAZvPQ2xqHb9RO7O6VV9Glfls0OP8tB48RMe0o92ZpxBHbq/hwPdpIRQJ8Yvw7mzGHU5krPTJl/wcWPjXm0hj7+yThViP2HMIEpikLhNb4HeETmjIc+V6zHCsnW7N1yXMUSjsdpfUyDg06//Q81f6rgDoLkq8fUzOOd8cC7w4MFL9OwNbKcltEdlCotSdHxXygQQW8IKu4eKj6iUp9XJDfQHBhOsttZxzaX3Oo1pB3gEto7Asv+Fy7IidG3qdjPbOjuvjUnwVVNFDMaffZ7VAMEmi2eCglxu9snQ0kjUz7S4HPLCnJA2/W5fEIkUntaG9FFc7f0V5hlQQ4yJjJUGOY6Haa01BF0hsSq+BwDX7N94+G659cUG/BZFztgyHY6biV7yiQieGQyNARjU3xmtQ9DvUxkW7o9R+SZtmsh4iPMzSqeu0V/hwwoGLpVekkMPNHugnGBv40Z+ohZVvsxoWc04tOpQwzbHtFlLUOyK3Jj7kdEGKd218jccJHZ8K1SVBZZv994dZR3ghaJZpGY47rs8G4kY7fuBdQ6g4lmGa30LqTvs0tpATSFnXjcjcD3gbNWWkvO9NwhMC8GQxAtLToihyil1zCMuYiGcQSqNZsQR7IcXQ+BsiXywqcA9D+4S2X+pV0vF7s9uP8YcjUbjUit+3r1fD1Zg2yVSb7hahBSYSa7Gw/EQ40yH4WjZQIdkDAAWVle/MBMep3RKsVe7eFVvxsR3KLhUubA6tYYPOHtYpfUziO7xBXhqx5t7VUN9ecJ4SArc3NMiK8ktkR1OBTf5hVB9kso3stv3d/sSSrUdIqUJMwyNARitVyM0ZRh+E2HZpskstus2l2dPrX6YAVq3IX7Ckr0LyaIPOHUkk3bZXmEdLHBMvCW3HE2toJgfA/oHP1MUc3nndtqBCHrvm2hTKAlSrjK+ZJK1RRsbKuK1DvIpxWdSxB1oadU3CcBMQsHH08vHP3ze+pW3EOgOFKm1V/5ykHibpwj304BzIcHHpcTbqlHQHZDCcFduiZmD1jOIfIjedk1DDidm+CFv7tqK7IJofvwN0O4cg5NoVnqJfTmsvIaXfXEiPH5oyT2AXqihYa68AUSyiQnQGQEFCBj19kvH59QPdGRVvwAJqmQNtWP+DkAHi6sCDkWhUdnVYK8BNQzAgZlsFQ9xyYBa8CaiysLQpmeb5KfJE5lZPxl4RKZAxNrDvpuV2btmqIYDa2E2r07kjL4H3aPWjfHWOgpkJd5AlrtPZPUYpsiW49z3tqVxxRYWie1L6lJO2r1AeJ+xxBA5lRJ4QBOZrNY4Lu0MH1QGpzQNYPP61zyrHOZeqE3jkGkr6bDXMr+LjwHe1TFc9AP/8/eGedL1H+LeoEu+rtGS1UPRehy0m1Dgt023ao7jvjnPLpjEujW599HY5MT39BXCK1aXmxB7lcv6v/cfgdQuEEoppZbgGIU1xcr75lkXa65iSJOw8vsM7JLZsamgzoxaKcUs3ehdVcgNZCq5cdcqAk3r0KjgumGv9Cu7maQRjmL717gRA90j6qajrhNu9SZY1VKWJuErrgcw6kVP+9a+TsLLZxEy74AYPPpxbWXI8BqkAqqySNMijHSZwm0ftUDMxnDrXM1/EoNG3j/g0zlV2dw/LO3grmXF5ERcue7OZvC9KZPGKMePm36IbN5KPMdb/3ABRv6DWjx6zDptoNm2xrEuQa6GkuVCMExQlq6lKZvFI018cLkin7KZfT0TwlLpkAkqRzdxaLnPMYZN90x3KQvhdSaYhSp6gzgbWl7kRDVPoIVJUsEeGYvOqKeCVqngfxWXqCmGS1OBogisQaaDybHcREA23sYPGKrcIZEe5DCATCqJJk8lfUUql+nKK1/O6pDsNNqAj7+v10AYbvs3Q3XYhyoswWs8odmFZGgC6Ia0oxJn2hds3eppQ8bK3FCrMb661pO/fPFLG0gqfdTJoYUdkIZ4HQJ6kA6WFZjGzE7JbCivEeazQWUXdBROfj9AoJ7GPPUGOhsPhxfku7KnXDGWkSG1EzmF8HdcC06TkvSfgU5PlmNoihjfcTOtpUva3Y81mNOuxjKg4OAfomRTuGXdojV4SEsbaSrpjrIRXN7l+O+eEujCgeDtCdPDNwreI6QrFZVWeDyBsj6tSDWCTxCJAcn9xWFP667Zhtc0wDU1anS6gZH66TbtW8/mfAFfY5gBVWHfZBjLVen9Xm8MTDEIgFf8dA+tR3+LaRtRBw/yUElrRp0XweuTMDDJb4gX/jmfWDfaIGyMpBVSSNg2k44GBGetNB0TVr1UYvPrzHAcuLHZflfAOLRhrABmfO03kwSdtjt94sEEGcdM+AX2HVI4Y4LW4abR+xIxWMJzHQGmfjS/+rGEv6uEv4dLKcFbv0cYrKPH8zuv8XKm6G/o5iIw3gtChUMTHgxSZcLQ7QlgmBSPmc0fpkvozbgRFmZltkmT08HfCuMLzSiAmhm3bHheRx5jyrOmS0h9OVL7zM1oaNRjezqRmP7rtfeKdr8OywRk7TxtqhTHAmh7s3Nu9oTXCIwBGxeLDyGvpHbIdU9NWmYqsQreUqIEc9NHOON4J8h4hXwv1GWrEX2Of1uosiF1xf+3INIJuGDY3GdP63DRBEvVOjrmbcjeLlU5BX7/3rYfZOo6KB5QfuyHyP1zAEnpEe29Ywt7NWptZdIfkSuvQz67i0i0q0qo6Dw5XOuyLC6wC3q01pSNAt1c9DFYc6evZxAG9klzY1EOuRhUVMysBbSQFws/oJU4FyfOQixbLFWPSrF9LaHBaSJ3Z2p2uwhA4oE3rZ2HcKbxB2DQ3DPoYy63QKLItb2/kTM33In5B/unrF1ONP4JQMeq/JHHgF7xQPsdpHFDLe6lFqjaIBuyu2dpS5PulRsii4nHYCtfxfakQVtD9055iMvBGmB9OSAxdMD24syB/ufnunjKkEKAQwW0kM6Aq7l1VERc8fDOc+On9v1Y2j/kf+0Xjq4s99C3QjuM2UlqTfyKwBzJwU/aEB+6BlY3y99gmqlyylBc/Z1L/Vva0YJRsrZJpY1zFovcEaOQE2oN8khvtTm6vdqEw006SxBTOpikmdTI69hNImVVtBVWyY94f8pdTMB7+9n5XGKck+NNDVJTA78xvFM2sXuJjVzL3goihUxcwM/EskvjagfWusECakz+L+hx5+GRUACX6rx2T+AAlZu9aOvAqjC229qhp3LxJBoNY2qFIiDfjWaCne1/Woi/pHAnxd4t8zeTMehpU+CzW6oiadjoWLivyHlvTT+OFfec2mwOT6AvI/mrbCqLugWWVPvOgYB9yJlLbScCqGI+lp1vnyOlBfV0kcYXhQU8lOLaXo5X0ACcXeN1V3/uJ+5xV7DBfECiJZUNYG6WLeehbKC7wfL4oYrVljlzvbQitYLc7PEAjGw3Pzxqw0wW4e84XCwhn+8VEbbTMdxRQ3DCZJzlPjTduDVsXHvF1rYPGfIwBX8vkLPVYvuN3Ukk24aDoWyMZIlepIe9myKy4kNOu3V7qlUsRK3w1t8zncKwpZ+aFUqSvFoKsN0MtKAu0LWzDbwsjMkqF2HUmfCstBkTrxAfbk1p2qRTxaxC0NSN6ZCReFnWS89Dz6Xq0rTbxA2Pm32DlY/+jN+Y1SFt4NWUYxGy3rzqeBy3yDkJDr2FVtPCJaRzCZ76bH0K4CnnnlEf4QeB4Qr4Zs1QRn6dOnlEsjEqYYkcfoRLh0xUkR2PBtjhH1vzPd3y3HBOgd8gFcuEw+Yc9xCaa5u8gqZwMoFQXpMBm6OhnNsHQbwAXadN00XB5hsFL2b5XBS9OSrVtF5C5ha+P/71IaQfJZ9oUnMdvUmIHCvWCPAWE6z+t/ub+3K/CDligpxL7oQFxmXTT9eTO8YepG5h2lx+8LOE7thH8+wOCy/F56/lMlshBJHHPMY+DqYHRHq5hqWRNyJF2DCGVtF80ws+1/MrUpNgrFSSv6BfGxBkFc5FOqNnzmsxjIibAUQiaVm8G5RLijaKC0pcYnraM2vXlGLf22vEup+/+J/MfgU/flPbBgFX3PyR/TBNISClsjDuip3Ag7v8XgtHTgjb4UKuMYsicTL2qibpZcLELu3BSjCUmZ7+BrOjKKdXCYAGwljOdPp4gHOV3nUxnmJUauRTXHYILdfmWmbtryw0GkEu7Md9ivAl49Gcls9W9D3XW8Gx28uqTm6byAC+Ww+uEhSs+uK6aBuuPr9W2Q+wGEGwrWtOUP2rGGr+KaXhl1fyxLXwPI2A/pYUJv16e5TMIwaRfbJpOSu32tO6aDdwKIc05Onhv+Ot+2anzxfgYINOT69TLoeOUllAdi2392N30GZn3/G+73GPkSdIsWMgFQjLV1DRzCeTU2KEn6MQoq34F3iCDTe5FvBsWhLvbeweHuhRc+8lDavlkSUX2W+3TfckyiBxIKICFIANWQrN6DwPFQVZuNPDrfPT9da/EG2QNraWB2u4h62kwN2bKSBesXZjWNl0cEPsDWeaCGEK+lntMGo0pCn6BXOh/q4kzzmpByDPbJuv8Z3/VOlfgNzBi+Uq3xrSstAZIijHpvhAE257zv3bQoEQgV3fu+HFeDtOcOK+KJDbTp7E7bQdv2sDejpa09QBG+lrgalvJge1dIz0SCBuUrhpfgCkYT8+r5D7WmZOiVd3Fsy3SrTH2SKnKwCmA/UI/wzEi/eQtjtu2fAVlH4/oK/GirJVGMSziZLvKPZwQH1OJV6Rfuz17UVtbN6W1iaFvdLZPk53RmyhrCgwDkwLj4jqHX2lxog5KnDEueiew6F6MS251n5epvjBlHXN5FameZFUN+RhOdmTPqKY9Q/F3yNJmGaZ0b9B9O4t13Mc7YTgd1mpFiTBD3D4coHzrJkCQYG2B3ajY0MufNhuLnI7G+zwg+DhfUhNm1lS+0xmSejVZ0Nk3rE5Mx253kxVdIoL0Mz/ETAfGziPLvwyVveXg5/+bY+cQrmse73M82M8tsswdCpRDbA3m0lbAdWA9rTt8jc+uOGf6Nn+vMUOBucW2fiyk7cG7FOOpbMTFK8ElhJo7mr0IEeD319KL98uRZe2QnET8anjNY8vCinCeq6HsZStt+phMg3EbCSVVXo/EqugJZavJdlQs+39aawWKqfSWhthgpuzTXYGY8iim4x8kSOb8EYSgucVnkf5M/PxhF7hcEe+UBm+/NFj0FacrMUmUiSNIweo131doBgrrKuP1X4ATZdV+KtukIHwdO4rUgmcUdesfzsvNohCqwz2v1PuYI4kwtqRLtNd6g5vqV9B7qkaCshnMwSdXPumfZlq4voVT8wyS5CUK4shwlaqtydjDTnyBhfcSFKNgPy35UNqfsAXc0KQLIYoCbIEBHwzwpOIGLygpZpEoYTSIrtaGkaxQIFE03OVl168dTnzzHhe9Lqv/ekLVSXm/tFWIj8mL12hZszYDbn7HmyzUK0SJO5M+STAGnAkhhmzy/aPdHwCcAoM3UWUD27bi3QAhVl671UO1ITEVOcY0rcvYoxi5QgyqRwnAL6xJUpQwmIvhrOzt2qCeA92VlntfPudYcJPsUMu/FK/IYQ4RNsTiRdSaRMOKD88t7ZWlx8C5gUCmZ7ZCJanEwOtncRMd9UNKuGAi5LY5+2wl0fy6GRPEy7x1iyatYiG2ivVjPVe7z2uRvBM99RK27BwJBusjrXWfZVWBMB/q9WmvvTCeuOUmdcXuwZJugaVCpzHOg8qCCphM4dCu4mbzQchvuNdVLZhzPnzJY2yvpElRwuuBQKFohRrjP3CZLSsIzyXGxLXPiYDY3z4g+GlsIMTUkypzv2BWf2iZ5Kw90o45z1SVvtZDiOA75BfYJzbo87nZTB1wHJkwBgBZvTZHQr5MeyrfLaq54ChWC2/Tz6aZGgAF8ZX+QDVP2SNP2UYSricLlx7Ky4DWTo/gms6xujQvacTRYKwF0mZOiKBsBKBP94SvxE85USbaXpPCKY9qQSgQxHazznJjnzYMpAIQn4Fg4Ui4ZTXjPt9ENS16SkTU7IqPAF6CQgmPPGCJ41pk092bMtFu3lVCt5GV5gUm0nW5dokhiMno7Q9lrTc7/pEH36TRMHYx3xNkp35BKqJCC88i6nVTt06TL5S7H3QxeC5XDpgqsv0Thve+n8aQikDbjpvww5b+32dYpuRsSPiEEmcxhHt5e/GxSW/RCAdVhshGx11DF7sc07Jp2L0zZrGZdxUrcUOd48cuFUD8UFgARZFswPKzTJ8Q7o9/PYbkTc2ThHKOoAOyxuXyrqJfNqfo/3Mb5UznD67tBPK35HROuZ/ML7q8Z22vWukfssNiRcmhs0CAysf+0t7MlfwgfSbaZz2cbkQMVRuZoKz5xS1sGsx+M2jB46/23vuUkczEhkwkb1/OnZABtSCkNDAVNiAneTwDRlzfrY5WauNck9kvOgAXVwGWwgkzz9W2T/0EePx55o8sBLSUYC2k5/TxGBnx6bHMzEmhF5DlykgCfZ6p60STVMzMucstMkZE2/HzAGeQIIAs6b1kAJJyeXze9/mUxCU4KZ0/dK83b186XPQg+yZLXf2iJqqfzh4qKetPV1z57rI1jA2ND/PV/kfa588/wXru/8IflmZV4gDy2uvhdAAa+MziWASbIhOB2yOEa/TrYjXoSdbSgn6MBJ60orcW1Yp8wXfaB63c4+2y6wfRQO3ubQvtId9kb+FU505D+jlEizpYytjVVwfBzs4bxW1NtIZzFStob4/4/k5eeaoko6GOig9xl1x+Cjhl2cnDPCY640pmMznjpPamCRGCOTy32DmdmqPifAu2qDwpHiAW3jE2ff3oR+Sf/9dqTKfo3tTw4mEk2lAv2hCLPKIrZOrYRO0NOElgyICEbp3Ru3/gtTgAEK9hrJDsnzbqFj/KoU0Y0Axw3evpnD+Rqi7Timx2fkHIYbDbULfxkWssbNhaD3sV7O6pWt8tcv4/4R4FJ4gcU+6C7M1Kjfp3Ds0nuJe6nGolB48kqXyXPLFCzj/tQ85EJldY6Ywd5muXmcW4M6aEuRCINtQ5dgWH3Ue2234E1/VWvpHI9Ty3nIjKk7SnDPhDPL5nLKAaD5W7nk2X33JnMfH80e3ZkAnTfZMp+Q1poq0g38JgWjfTJU65nTlQgFYyXlSIsN4U1+zDaL0zOGq+t9aAJFlDnb/pBI/niSbLCglOjGt7lfqdzGM+1m0rSM9kVb+UPLRQkHpHw9KW4ksxx+ZN/o8h/8Nlhz5sCNZPx7f2FLjBAusBJenaBZmXrblc3xbxeOzJiLfNcrDXaFC9HL3EjFeZ5B+K+91aW/Kp1lORKkjQjgNy2fQKnArgnhtuJU+9jrYb/kvlJrwmFh7K+tSt+iLBzng+A/XTBbYafqI9oPVDU2nvajh2BbLiGI95byvyEfjAIrefkI0qPbmYY4CyJOqj8rWOGIUinHrHFGlTKn2cR8uCBUx8tLhL/DPhScT5H4u9WehxgFUuPzy/7ThNhEMJMzaHku4yXpou4OKQhIWDUFPGQawnLjxrBnTFNcXorSkpBJsgXd5q2CAgtJgLzLx0Q5oegFuo5XM9LQaRDZI+wh7VxIGG6KY1DHZDhRy+DV0gUJmqcrEfrPvi55FSvz2Frm4xIXPsGPOyALvtA7ANE1u+gu9X3cgT9MfIe3QFyzXYM46SHE0c1Z4bc43OVUXrePNW+cMI+tyrB1nv36oIOqSfUt9Voml4jRzwuuf4z9hIFTpU9lnjKlgSgj3UOITXuwTUYJUEckGaf6D7aiGe6Ffi2htWSXY4mW7N+TL3nch3Om7mokZTH229XDaGIPdmGfkaGbTFz1s1nCUgzo6oZHUmEJu+2RTQvrOSSFY596uTF0Uhk+uoFPxLkjijkBhY+IIldif5I3X4QptNIS+Fq93StKFu6NnnGBzaTiM1MSznqpuMyP5b0DnrK+9Gmr2yPl0JOFl+rkpZdwNcr4DzQP3ro6eQPjrptSMZ/dHF+UHWu2+w+PP7YzQxvoG2cUowFKxESvLN7uoxblsnC8oma+z9CuBa7IU9e2dTphnPdHbF9igO57C0tmmR+a66QY70i28cAh+SlzeZW7WNAzGchiFivX+S5xlVAX2pWyDNnUWB8c3S5CCBEA2TPEaSKltDaoJzvGwZ7g/JX169o2y1na8cPn9HfqfsH5VJqzj6lxIkjDs9GzJsEEuhhGdj4wmgLDQIjjnTtOsgN+0Je50hQsTcjJl9YKzs+W5tpyJidFshe3lRTR+4RPVRLOcVlWiMLTc5Fo2cvnQ+lg8wK5gQurGt9UZ89ufqY/q/nD2RFQK3zZbVgDhoUqcX6WJjuMJ46ldfx76bSQ+q1dAwB7T2Bbk2hZODUjHkkka84lJ7qW1kOEKJpArd2j+cpvSNcw3LMigg2RLX1sDo8UmanECixPlD1P5EQI97fhvuq7lyxHyCnLPBREu436nqW8ez8bd1Zc/4bjs0Y9P1V5erxaf3Tg8aBGfzAsQr1mZTSLUNh4wCWljWfiNFehbbyEX448B/n2sO4Rl9JY9PGSel5FY2abI6bgzRGSE0FBNNamp2+Vxe+nGjNWJu5Ims7u9jCT4Zly7pTq1RFmx7999YMcy7g93cE/NGBir/rTRKrEy2yBhS/h6dIhbLjFLyvGV5+4zu1Rs8S/+Wf5gf89VovTW1Qjpe6zGKZNir0OBHJgp8ZGwpsMAE0tDQZXFhSd0q7OWzdcTkZfMgm+q1ztlaajI8wHPTXwKlsSWDharzzCWA0hXyTtejSAkDBS9sm47QxBwZ7AOjFOxsFFwrfJM5azaXgNz6UHsI1dV1v+GK8gwiLYQqQmg6gCn5OrPRodsIFRdd3wyLF3dap+8yEXMIKZNsBVbO1GwJ+oLBl3WloFGoa2BkjGB/s9MhP4G8xpapWVr6pV4JJ8lXBletp1L4ky6C+RDSWY+Ls2asJa/qX+U28+LRqk9D/UISv+TIlmplzw52MLyH/3DTy7ZidBOyBi0fbVhk4sBFB6WzPFqFQzAWdx98BBUvYy3sVMXn7qMmspgjJx5kvVhlTreC2YJj7uiFlNonHPOUjW7aNdVY42jqSgM5FHinjuzILkx5cHWj5woJq2kksGbKSVldfmIa0YUouldkaILntmC/0HHJQk1nTb2D+Ri5JF0/Sn/tg5TpQT6ixvrfyOGsWEgBM9ebNU16syNjdDYddKEMechs7z+fVJ6NC5snV3DV3peB9D6ndAqZI/fZjrt3o80ynwETK81jVypD7JYWyOO3pn6YJy8tn4fIcDdWpi+CW1nhb1tlxrq/WoPj0LarQzei+qwxhm7PIwpkWfrvcHMYiUgHq93vNnKg0SXoO5CMmfI1Vxn8oH1GqxoQkijfvqT3nZDV5eIteEwVXYzhKBb9hrZt0cXPov+x/Q3D3e3OL/3HxI+ITRGHdfoDNqqZgySMRsbHsLtoS1hXtsPjoqaLwcx82QeEsOM7+syWND7G4ZbV0pKo4Vss6T4UcqLpPtOXA3MWLh9EbrrxumAqpaTgJuSr0r59yo4rppQfp//swyXEknnE+UlcE9QkKGRRiiu06n0SBO4mDJ2oVnBwTLjLvJMo07yhskTeR4x4q3geT1QEqqVZ5Sn1diYjcYAPE6eEoZcBUMvheQd6mtNInjf7i1LK5c9z0wCxZEgZ9ufjsNVVtTOkFm854mVoenpte37wot8OuulDv6X3PvJyBttrGby0u5y+17oAnB+2X+XF0ivioYJwsV2WlPLF/EXRu1cbH9H592NXFMsDn8uxe0zbfJfoKmJUl1oHJGK1G0lxJNS4ygPPrFuc+o9NpfjumaUibjRZABK3QywJZpTBuURCnZlzufJ4dXdrYp4ApP9XyXlEN6OOIwhclAZC8p+VVxB2myDLkWzBqeVyakD33mjz+QN3wc9TT+dbIo86fJPfiYXocd3EiquBJyr1y1dBAisNvsu73ufpYDMeqZ/xS017jXKgM5Ub4ykNR8IRjb4aoVQyixkS3mF4pyufbk8zRee8z8tMlJIHs1QddEYejXBulAWtzv3YcxWWE9v9+vU13w6MmMkrAdentYlnirW7dZGUezU3xhQK9YuVOWxNMrCrbkNnq/LYujGYsjgG4A4jt1qA9dAEEZHWytP88tTbEZTAh5KASJrtsqLbejPJOdUTlxrpTxVxSEc3EutjbSxBdo3F6sUymTmDF7MMIOEhmZujZPJyZLM0LF83Q6fLGl1J4wPJxKaYowjOxNbO+rMOXgABVoniGz6GIpC9UicntcG++oicMI/EMTx8uLeVj8E+ahRiOvvX2a7IfngZQAmA0p2LuKsHCqh0SyrbrWhqlvyHumZ/ixDFeMOTLT0fcrn8uwYcQelloPqsS7l7N+2CaxGvoMfFqFf/toMF9qWKbvEVS13fE0wh9Yhcpe1biGqQHmbDZL4TkgJO3q3jINKwwtzUuFZnz2TzVR43wyoe4PwAiclj8QogAcfpnpSPYlSR7fzvMn9xV8z6DfcqxK1e5q6vqStlcWXXzyuucMdIzLCY845qmAMudz/DKzAewhEEOJDY0Pr1fseU0nxNVqgp+5o49H9ZstfMNsX6uwKFoDEqfPwWaKj8lRR/jH5XRUaAX39qAf+Ig+JY+oOoO7m7Qx5KMFBCZg/DZLdO0Zu10U3Jmm9OxIhyqvh4TaC58VdjlAWzzK99asp2OqJFFshJnSgJGOalZrMPNXOEex3Ahj7WgN+zFGKk+4R0n7QNZYtCEn60Sf711oedzRqBzrxWMmD0ky2weKJzR33X1IZlG/RnLJaSCM5wNfzKHhmmMxkMQQq4yFjNz+LZ+Nj2MpE5GozwegHKNdXhW1HL4LeuXVFguKCMOLsL0jCLH2CfN/FhO7OOi4ssb6vEy7ye9uYgt/SYNXanNqHg+8RCjSYLU2McrfGB+Y1/Mu7rytLxuscVasiEeAvP+dpmn1SPIS6SmvEjqB2MFAfEI9Ot9KBg7bsVEfvp3prOsYt7ZNnzTNsyd4U29YDHAXRTNGdhGMiY/ZYKi3m9EwSsWzIwZsuSr/UGQkvLD3pPPEiZPap1nJ5YE20pIIJ4uE1aHffCKYXnCw2oVYzfJ1LM1exF7b38azkoegLRQqzgZrE+omLHQY4lbp57LOG/3u4AqQqolzV1QdDpxTt9bznRscbPLTWelXK6S7zui6vxu3/Rhwg69c6IZrqm2nw0S3UYz3ZsZoMfdOTlGpUVRiz22mlz5cOhPDddI/t2WmVOrTaNDWR38SPh7jjtn5+9IV5hry682J95Mli5ny0n2yXA+qM5qZowDdrZaVTz+HDen0we5MzWT+L10jlC7Om6rxFDL9cWuOcB5RTalwlB6nIoxcY40b3FhKi2ZIKJwZdQtAA8QjOdskYi0loG42EXDtQNX9uIE6hAm6stRbjmujV+0DES7v/6KQhk5cN+6ec0YeYUpJTBoC2gB7WhriZ9nc1kFQPorm7pl3Lf6O/oRX7+umhYHFSyZ/G4olE7j4qXDvCghL5P/fTWRYjnASbR93tf/TkzU1+NaNfoeeVal6dN8wXWbFTN/5JBgTPsGvUkHzqXZMCrABt5kd148YZMJ9W1La8rcwVmDeS83TRnM4AKjic2CIyccaVm32FiRqkMw9fVQywVAMJKipPplSRRKbNqrZevQCfdf++fl6FIrlRv/qTFZYsu38iQCxOMMPXG6E5lndlpAiPhUiEljn/6M38pQhGlFbNbSAALt/TnR9DzbzGuQ2jCJ4n9/6uMLZ4TkomN+ol3yOdWgi9kzilQ9HSr6B0QaAgyyoCy/OA8jFEuS8qSxwpppKd79VMyiM5NgGAv0D5nN3g+hTmyJgPoD4FFR/xv0stlwfuX8ynPXw+zT9hPnexN5DVCTHDTTi/S7DgX41+TxfxEtcAWTSkGXY3rVsVbix6F7M0+E3EV4l8MHuNXOkZmCWqq7nWBe6HeX6m9cIQBsnk2i2VlzQAH4CFqyKQ4aVQrAKFibSf0943PV3Jm/x8bv0l9YE1n1FdA9x1+yqpTqeeedhYODQom9oxSZ+ym+HzYXppnXim4SRVkzkuooTbPuegb25wVL8wLBJDBN34yEOYdf8fcNd5GleWYG/ohTzhLttrdHW7j+HwXO8TMmljIli/5VafxeU2xmi3bHUfe3XjJilvemZEJVHHREHmXjDeMcecLe1OYRvMXuX1G5iL1jdjEp7asXQnBrYyHOJXujfQj3jDEbAuZWSYfHDqdfLmGxeFQtV8/BJdZDimOFnrG6tLWeX/yp2O8Lm9FvCYsO+cU9sZDvX+MTqEaD+IzvyLRAdY3l4IKB9lvdnZFRZUtf1/kFKE9FQMmx6iNfc6NUEMxw335kdWot4BtOvLsrwRnMoP6PW1lJ8+ZQpPK+p6p0kZJktMicYvJHbgFKRAANVqH/QHmllq/58yWdoYtUlYDQWKyfEpbui7IiUm04PV23S1ZNOmuFx1tSazwBzJvPAjs7zhT+1o7Qiy+yGSAjys0CY0aibbPy08vSeMngXZ/JGx6Lyb+5o4Vw/zedKa/X2KjGvBBG+wWf44yYIW7D5d3XXzR7qzyIe0X45GzNRDDb/ZDRG4zayLdcn3Qq3ypijw+oglsBnA7tv0krCMow0C9ReMnvcPg3PL0ccInoyl1MwtuOGLKoGSKVuQBYKYI9Tisxj33bhpi6p5y2vmBo+ESwaEAGZ8NxoMy41RSuasTAoQft848t6JPouBZpd7dzT1WZbMXJTse29y93ir5HCPi/iKPU9592nWhmSXDI0es1MJQ7/LnKNCeQIiJ/VQXyeUc7Oq4Y3dk8o2FJ6pzMUpjHcDailDIHZ/+cZDZnBHxkeCNOWkL3KAOE8IhimTfwaUCT7hmjvm+kR/0k2vYzeGjNINsxrIAp9GvCRRFm0Gl27Wco/TU6nskA8Df04f9oO6PblI1nrnhfZAeyMVguuOoKdiY3TiTKvA7FURLrLSIsJURBVoRsZjeYg/JAN/K+2/k12jlMSwuDManhgIhamMox1Efgkm9U3mauVcr/ErZRQ0ob6nETvICXFDvOr/SoKgVAjR5fBnz0I8+/YFmUw9WN6eCBKilc/Mc8JDDiKO3YacEvRZg70Fjv4jq6q2nRo52RXu+dZaU6NR1LbAdjv7JVmQRBIOAGo4s16MPH6abtK4LAJGIMIXbo7DkZ/EozJzgqS7TXmB2eDp6XYDfMgfx/HUsIsJ4gF8J1Z1vHkHKuubX22gRo/cZgtjGq3ID1osv57Vut4/yfYAe77KocQQ87uiGJ4C30jQlYhEl5+1AnNpm/mPWYWuYTDazKl+0oeMnm8yEp410nuIj+v6Gc2H+ko/rtN1bLvcQOJqrdQVcQ4234Md8VYc28DwsBNlG8N2+R99XuMduBvo3Tb8mmEb5doLpeejaA4FXzvwsVac1Ft38gmsTg/cxT1ap93aGFzmdalETMpVbg/Ny7a8e5DasjiOZKMWns2nLmQlvo8R/09MTJoCFsetrB+pKmfRaSP78lN+EANSMVUWCz2V/iAxHcAOSa8kgg5DBwapYY9coLXEBfbQeI50w41NidAyvkhzFcnWJHlcIXRCHtNZ3SjZnGW2DCZcI5c3giUY4SCWJTHID6TA0fk8FVFRPKk/upfYsWKJwdyo9kIoYPMpsbh7NDOJvlbwF3vEPIWQLO0SIbqWtLYcsCD88XGZC3XQey7iUqqCbknWWY3xW0VTXHCUhDMyAN7LtuwV6rRRD2gfUGHEIX68//609mxsIA826vfkZvgR2cCXjyw6WEcf8O7j9ij0G7if2adpSNN6aECf3eHlHUJ3aeMNjyvt+eFzLrfRLYeFQZc7G4hxf8KDoxMk3bfvop4uJ2U4LSyd2HNvVkR4DuL+/o66N50u/iJu1XT1aAUxs9lF57VWF+oQevh6f4w7+aJxmKhqDSLL5zh49XZsE2OyiXoMhbgQQPKdpTuJEFpEl8kfvicDJ+JaUi/z8YKuLOJX1+tVt6fHiRHLW6xSHzR3rTviAtsISrNwy7CAJ5W/L1TCIvTB19BrC5itsW4OqvrFqdeW1ZXmbHwv4REg8niij0PwOsZa/rKwZKJu7NBsbtg6XLSL4ddALkDOcyYwxvaX3zlXcwkV+vIcCXGqT9Ez1/KejxVvRKs/xUT5kJaQu9mZlruErNji2cJ+Up4AkLZ5RLcTRhEiQmejO4kyNFkTX/5lH7gqNEfkAiyjX6djo0UuUgNcZXN8N7dw5kDeZSNOW8xluBFhUXzDoJYcAaQWXMXbG3vzSHE/RjWHD4uOZKd+4CIvxoMhdpI7MKI+9ZQtFaOQHSk3TPjYcD35/92yDnBDzDsUONALVwyNT5/D3OMGpvJnU4FphfFyQ8DL6ARGz4rnybKWs5SkfXZUGSccC5Jbqmu1d9W0lSv7uh6NyxNCtlb+r9QZnEWcoVfV63l4fbLHJhCAH0B+QOHHw5KX7+8dtKoZhT0gIz9kL1kgpvrm4ybhC2oJSVfk5TJ40sNCD6kUvIhVhrATtDEThZCyvc1sBj69W7W+TLljpFWfJbHt1hkDwzcxBiIwcxIK0W0sgVoLoxgc8sBhPwRZWya/D7bRMzJgSlsByAgKaas2fftxr8Mr3ply/eFtee6SjicraZxWTObXO66IBxWk4Rw9++ldywLm3Q6G/DHnEdG9U2gyQYl6GQJDpmWcRAa1dwsHwEmIFKqVAYEFE4Ty8OIbn0V9B6hnZQrqk20d2G8EHSJ7DJTeu4bcAgFJbCZf+uUfJ/fJ9ShOiWs4glB+rm6joNpOWFg71EGLFJpptm/J8UVeSiprfU/ld4vbNFaR8LLMyivsf8L/2vP79o01x48kY4pRJQh9MgxvTPWqnBDudMcL7AySLeD9Z/9gw78oSAaNqSvtVjPa1w2kQnR/qbIMFXw6k/LJ0HwzQz4/blzJvOcXiErBZdzDulHr1yNYr080BlYQAcu5ewIJO0VLAzEVJStoUpCbHCTmZ9oLF++zTN9ZjStz5GVM/4G/0lHA0D45SgJReQV7iosjTDP9UJ97qSDJkD9y4BrAJ+ktTLVQG73KDya5tsX+IdD+fL5aYK0cD3mshDnsvt5bY+xUO44vmN21qMYbOGLJxdbQ049wcTQWBBhCG3PcsEhcPcK8zABj2X9iiJ2WcyzvJVWjENzvc54/yk/QqntxnTa6/qbMkdv3Q71H+fkqj9wq06XakGhJPNa5oDF5iQm4y2b5P34gbvZMZZ5rBWgJ7bMHJJ6ZMLhCYEgXQcbnJD+j2NbUHjLZVCJY7DlHrsF7koWnIXVIe0zuaSiZENk3IrelKfCOniwMLgMRdo0GeCJnCgAo2UpfOEvS8l2Fy2UvME4tet687syhG1BAB6neyYfGyL8MxBmd7OqevLBQjX08g5X5NYWMxCRvDsI5yU2J+k5Abk0BQ0OPRe8MD2U5Hw5uasH5hO68Qgk0/mXtzSFYzBlcjhW8DXBjgb49ynUc0bXu8/2XOuaYUwT0DkHKoVEFAKkpwFWv2hj60oVmqetgLJr+juWCaxc1vlrZZshq3ZgRI+HVmTRBB2TWBfBmfEbz/iZ8A8b/YlNaHORRAJdf/01EMmAQ35Q5tqTTfjaVAc4aPGkTLVwR6H35yTvDZ+dlkSLLIIE0bvTPW2sPDW8E6Z5coXVaFhrGj6Qe11w124brUVcCc1eDNf+RKrMv+Ab93Xp7ojhF949pYz/peQ5qevfw6Lyr17VoF5Hm5DeiiDC1S9+R4aJaMIz4QXCstTmjbBu/hYyIBoAwom8fST1mBELOJmB7AG4EKyLIiBgNiAqA/M2YSVn6g6l6RIebfF1uPDh3WptBgWm4UHDjuggKlrV0JBUW0bIKiaVw6A4hHJyXB9xQvpv94XQzj+8I1cOR0ToekG4SlOGdFQgkCVWsTlOcFalI7uJmh3ktaS6V482uKsg0kZyp6TwQcvelGxwvdkadKL20hUq3Xm68o/gWoA5JwEGDAzYOmuaOzWOX2Jql+PNAzWT+ZzmieWqU392xX1BwgQ/7l8vFMFoBVWhewnHrzvpTMgP7prS/vtYRgPyCSyxGDtXEnZHYs5xjDLx6Nq98P4dwK4YirGxki+fvTiRy0/XXxMygeJ7OPkF+0G9hKEqs3GQELpB1HwOWGo2x5tlhFfGI2PMUUyFBwFCMqpAjNJ4RJk7toXb+mbMB6jP2k9YtPmAJRPLb476Rw9fJi+kq5YctFerr3920HztzYXaEVzvCieegBFRRPTidMOdPGid/ZfzDQK/gAjBRjnD7r+T0kQ0xG3CWOUk1cLz0C61X73qVnTK6HnSHkzfVAKGpplt6qoOf0rCVClv2ztmxV1Voi84V5gCwGvmuHrTferZuye5M80LGwA+rMAN/HMMR/d3VAPLg+Gi772wqau7mjSv9brUfD1OEBBojd0GjwI/h/6pUeZpfq/r/vZ5bJQgV3Q3kg0H93M7asbdW0puLllnX3osWfiAQftL8LMDW9HEj2rOPWWz3Nbt4J5UO+F7P6vFhFtLk7lmOqrOygommI1AU9ebIQF4LKbS7nXmtXTSQwuLoWuSCi7Ko8KymyAh1ihW9WZfiXlVJhZsJCE98bQMXRJgvJOgYPeybEv9qrE9dAHpBtw/3Zk7xhH+NL2ARPCljMElYXOfF2Q8XmGX/dbrsCBKeu2p1WhBTKlXa/UFFTVz7LNWRrbXTZkUTDbNsZPcW29TnUI6SdwABVVAFRwCgCkfuNMb4RqTtlln4EdksDHnKNtXuM7tr6WvgbxJ4fRWP3Is8BIWRJh/tOqgWgyZ6PX0qPazFxcNImtSYpfNa2hjVJ5I8ggTTL9oFbbO47ApTC0Ow3gsJyl8L/W095vKfprqbNHWTflEWhnEFVX7aAHVvLYxKz1UPyOt1K4MH4Qm3QWovacTiTeJee17KF8q2hupEO582jT7QDuYCEEKlYh46yuAzcaBWEbddnnqT9y97ORg/yPncFYPfHxl/U/1+wj6dayF1QVPZ7Juv73fx0WQVTAXxnXZcdQKO58B0ZBko/PVgz7qhSbpWfCjdsniN0eG7+C4q5J1VK41m4BoaoQ5Dp8N9v+q3J+FeWwvLgcohgAYVSZzEFMc8wjlNaKURl3ss9WgJ+LkQFv0litkPGrLD6rCOnMytBKcs7vRnquPozC72trYoPxhcvkNFWDc9SrfoqPXzPYKfOhW6HPvCpnYZHI7ENTWa35hQuiBkdSTeYfuMMPVVrO5+zU9zxzmBMWgXTqr/8PVqN9de3sMiKrLSrXsj11QKo6OvNY5xJNFdeS1PDI8nbnGh73M3mrobQSBx4dqYIUO7ZDtGUrNcF3R5WBdtATGY2Dv3ky1giQRZ+lXR3lToTy5WCivq26LzZS7B2Rsiw3eKwNBVpLVJt5W9m7y1SfMDuQP6Ws05D6erf9H41mZP7LSpVAdvZO4tXZ6FQ5IHwTu2b3cCVlAEWTvk5e0GA2I9y8hUh5R3XXdl1r7jV7J72tccLMb4EH5htUcbP3ubApQr17XQa47mblIGgOt9UhgCzFYH6x35LtBuenveNKSY1dcrTffuAhQ9yF7180evtCbu/ULPm4+dqyHRRVsJY7ysGn+jpBNHMUCvKo2D0MNFW7qOuaikIzFyU+fBRGQQpk8d1wBBGXiM5vhw3zaP/v6JqT2qWftUi224lj9Q8vk4oEQOJUBHJ76MazSzd+8RJow2cDQhn+6/ZsWlkZL9FEZnMbTZA4Q2/kWEXrXFo8MtMCV2P1b2UavEm1lxANXx17rLmkd8lC0zEb1PT6oDpDDgDYxAePCdL/4TODLppeKgeoyrEILLtRNC9suUxN+//ra109JHWwbMAjwT0pa9akfxzlgvpgMVGOEnTpywJHWLvR6gfMG3ucSL3q6MLn1iv7PsA5IwX4FDqUL3VgtKDhZ/GtddHKe+4NlRR6ENlbiO5i2knKFf6W9PEAab7S3eyJRDCdxiAL+aUYPvDBoWMNOlGJeyeFo6zZQoMh75eZw8HLjzySsTC/HzjsVecej3Se+OamcEj4SaAGWI9mCNjHn77iFSi85FAIpPB1J4Pb1c1UzRse3mU+lpi0060UwQtz/o7ddRTTscVr1aP4z68GIHyH2pbdhnjTQrvGCiMBMK4G9MJH45+9fMyWgR+SzPIBIYZckG+7Jaq6cr5zHcl+tVJx6SZLUthrHCl5PbV4inw20AXqoiT74jpLJkzWK9pj8J3m933iu5ZtV/wQpLsYa5ZZfNhcUaEJLvhfG5zm/2gNAvR4yEM2lzDGDB7lpxBsrxQm9M1Mnscts1etenPuNfPBGbYv73QBafTKo05MJEhIUEBxJboy7XDtiRqmJwE0tnr0rS936k7N01KOizjdQIBFLuSSW3GhdBdsJcv5+QHL/NBIyR1R3jUgrRZmx+umys2hXR+UvXtF/EDrfdzjLl7gPbU6A++KX+HLE6218SEGhGsZm3LAoNElC2eqkTzxPmdVcrfw2lp4Zz1fwSyhF0Iqo02cSypFmplY6EcS9NunkE0t6cUlkBdpXmKHE2Owsd7OxzIDGVTnub5Y6N0h6KqKlkDQhbs1bn0sD3FxXAYSnawkSIRO16w5Uk5EsJhy1eo5TQmUKckeoKxI3hKE2E0dIEgyJ/BhJykkLMO7yjOEvHTPe+VderPzZ0oV2+om9YDNnh+aY4a5gdCZWEV8ee2mS284dEdWlqWOvcxUSdknEw1OekibYcUD7/tDAzXTsqoJcOzK4QYmYQ1oI5N34poHpQHAMnH/ZSNiDv1h1Hktz0v7/W29vv8Y8hTlR2PNpXOqWj62ZgA9YiMRKdlkoNxB9oKVFrfcOVm1qpCfcZnR257HA8bkHZEJ+Rz2SkrQyuOjZdGzHyjyQWEqPeZA8k6SB4zEHIZE4Hev5V0OUOyuRFU4FQbe3sLyZLtcXCafWJBwApMfV2cjvh8hbzkRPMXJM4CYekXUH8+c8MpO27mc/k0u5TkUd02MG0jKFCAbsmNmMlZ3aw3DWYrYYEJKBqdblVY/FL5YHMKGkbbo05Yj9VmE1A9XW/iR1nmQdB5kZoO0P8QS7gV7sy1mszzEv/K5dFxlDuKrVxr5FJt3Onb4D0ua92waX/++oFLyDFoZFIp/0bdXwltnAr2o0biQsvyQW5URnbXjLwipawWk9mn6SqDbATDlnSkCPfjol8hCHE2dQfpEpoW5wHmvASxctBh7W1Y+vFFO38HIX4YSGCM4Uch/cP6wT4ROuAv1GCtHoZCkE0ZQawh2Z115RXrtuK1NsOsOe0XwXdpMvs2WVp9DjZkKfy6JvhHdvTH1b6mQK2lITzXIR19/FOGAyCYsFkw7vgJuFT/ttkoCiSQMUkZltAePt64IPrDZnHlgzpdlVhOsW3P1rcWE5xuedQtls/77DtfhnI6udf8dgWkrqQ/iM73C9k+EnQDlC9XUWiBXp/kDS95WGyG/zYXOZzGW4WoaITENUnQK5Q5AZeTtIUdcZLM2a0wycN7h3R3eS5CrG5tGvpcUwWia90QtdVQW6qPKRDDa/pBBRDIwJP3RY9nJ3jyaUEo6KzTC/7wgwDdG+uLQBHbf2Fsy0PnIlKoQ4R9TXun/2K5PIs2fYFG6IoM80S08lyrPgk/HG7o8tIW3IxynpHUM8jScs26UlBQGH6CqCklwZY+0U5hDXbDkCp85QJQcL0jiclze9YWOH4XYixjjowuc1acfGPUT8M4jMACC1Q6x3s4DPmgiq62ZHuNd2SxiLtZtCdh8RYBFEwt/qeXovyyebb13b4xd7FGxnUD7rMhQ6mBqeHKh2vpbIunwBcqATb9mRClwK4EvOaGnnJd81AlxleLie3hWjWjlZmQO0BZ+ulUIrYfs2BpLykiDsg764Z0ar2UsS7Vhd7jqjC2vCT9ajsRlD6gBk33WVxorxsqx5KodOzwdYFyo3xSXPCX+kRJog7/WZx4rBJJNbVY4OmAdoFkbgkpxgLZj6MLHsNMQlCZd+4V7F9gSSYmgAN7I9IUT/23WNjTihJxJV7VEL/QsHKowTCLpUKS98PFegREmRPpVfBnTLwvcyotDocXVpu+NVMiStG7a51Bm3UcC2/S9pFpRqC4DiPMUGVdqzsW2fCfzVJfRVohXGU4cNy2IB3DcB9lxM+lAitWHP4lAsTuu0cQZP5uSFhuCWeuXhYRYY55gEPcoF+rTG9EfklfyJwojSaSW/M6qnCJ/rMECV1To1YVUxhpbItR9zcuTWHPkU9sGGKZGfTjOpU/S98BJnY4jHqWqY8P4iJsBPateS5WDds7Z4nI0DyNTDZFTWvSlMKk+5gnok+N3EtKrUkGAVFvk1YNPKqoy87JvW3wnjS66UIupED9lYfNb/j0Tf2AEZgvIyN2TT6Mem5ChtwyxXfNdnqhMvlSgpifIj4Kl08ZkgPkQ3s8Khkg59C1ny5b2xxDr4HxX8mgd67pRV3MNAVCGtxAml/gmuGKLfPMfH5eWMSWVxT1LURg/nIkLwAg1xGkeiCigWiFVVqsfxk1a8dVcAYmUFfM1ryn7UVtmWMDsjJxRNn9DIrj9CshKNhd5KMkAIwOUkc1NMDiBzBVIiz9LsCxPoUvZ9D/U8P9TCZY1gu5bZVpZ2xDXHFfiVLBHE62MKJKaRzOQ9CvSnCgGLfZlE3hCdXD5dqiQb4LCqxgPppMKtfZ1Wdw07jkBvEww9n/brxdjWhWwqkGlQ1whSATV/bkh78SjzeZmjwJdRFALw1dl0Q8O+OkEml0JE+FT3zc8ZX6mUHuJul1vi/DeCMeNO4DlArardtv9rhC7UfHv9SPONH+cTJUD7msHPNYcH+5iTcNnDcFzax8zt8NiLlCXjsnj4TWX9EOJ77ZhXCgPsTJDKLIe8Wn+59bMhF4xx0iKKXDQFKe3OpiLJf98gBZLL9FMPuvqMcmeZUBqT46ud9+L2Om5Tx3a25o6ST4wLHTP40Ufarr51LA3AswzaVUJtqLUgg9xdVMGaWSuwDvberGSkqZnmIHmafnl64+Lp8VDWddDAAqU+DxTwK7Z6a8bnAucTIFyuPvpDqMK6UllvewCO/uxcoWPhD0e/UHHGWGLKDPi3RkXK5XDSaOmvOgywtaCCAmltgdZAzxrgDnxcUpQcvrXi6BTxe8xa254HpqANY+iaB/d8TBrvrJBLFOUfFz17oWu2g9H4B/YkLnaXuI9/ZKMEOp21JmJoF2cURvMV/qb08yAr7l95dcyR0AVD58RG6UATu9gFufPd3N8OPlEg4Zzf0aGHB1dqFgz1VCV+fsGF7Q+klSvrgignJpnsAQJxUGi4I2ekprLbIDGExjyo1X1Cp6VGVS89vVG5E5whEdzb/joa6INg4MnxT8gqdULkabMj5jpRrOQILpHL7RT8WvULXvU64ohwbm1gshyeBRYdyh6x3rpXGvE2U4NF6LpTeCa/7LNAhbujxdKQrtGsXGsVsxDq41hypcuFVHGtaJ2H6MaU+u7nkmSWCp2/9on3qIc8t4GeON2IMrijFA+lorlHvSrWHMypWoMYXjRYoTdW4cu4Ygu48M8LjXr45psWjtK+VGzZcdEolooWxSceK1jppov3Z+3mw8gUJU+7p/4kg6+4jwqEcUDmvyNVwVm8rBdSDIzxIYwWjDMzSIdJKrPo9GTrAAcsgD/YRO5BxZ4M7Q1cvBmOa/a9E2GDQ6am5ao/l8XOcSWJkgQApng04LvAlhFmv19cy7tgrUyP3xfHxyNS74/BiIJrBveoiqleLFWhlaLpKg+qGN3Adyw9zwJxFmMxwNvz34mpntrEiskrMu1BIGJe7R1yqs/N6U2DEChKZ7MjtHbsUMEKJLC8oo8ePwQnUE+bdQDjX5a4/9+/9onbbIiUG5N3yBpuwzG9Uk+ugVNmEp7+3fBBL/RM664BDXS0e3vLbo3Ee5hkYXnJj0toJIzMbrWyKZi9aJRdpwj7upyva/ugOTxIOlXhPL1JfWjSnyWwe4GIpFxi6vUVoHbF723csW3iNPCT47RSly+XhDkXp9f2RwpRki1MbJ3b9PSP9+n3esjK56ue8KWnW3UiyJvk2PqooT16CwGgYXT/RRutCoU+bYRN39rFTWGTpFZwV32WwYldNvDp3fpQjNTYi7IKFZYf5xjIVYydTIbOW5MSf6JNpHeyRKF0O1EyqIDLjRExvR6U+KE1RDeJofTOF47dee27J5QR1zsTIPUqxx6kwE3mM4xUD5+QMN6xkvkrOmWFNR2ZtR4oxE/vkMQT8KMeGryryk+EXESDPpW4vOyqEBp5kFJJHEu0Z3S6as1aaZDPJlH3QD5LuDABMQhE9KJT0iv44pNytI7T6cTtZ5fuddJSmGsVPtfIEML/hx03Vjhnx0Rvu/S3m0pWF5CcpTU5DxGQpbhpQ09S1QXJxLER3PsGmRB4KZIo7ipSI8CqRQuuYdXzZsLAM+RBcxVfKuIXpwYaQ6ZxBO3ZT/iSIt33mG9sWQHfQ23k7xGz67n+MAFlzzxoKSu+p1lEfX5vUiZjKxK+r6rxJBeBIYAge4GpwhkcSSA+Loq+SETDb6yzy06erCS+sot4oVluUWAKCFj4j+zSR/fd+swFQiC4gmroR/t1KNS0c0eCDJOVO0mPzwaxeDwuy60vKGUddeIdY/QgPFxbFuK/fbM+tx6enYZ5aSKBxuumUm787BVxZk5I+tSzHviMY+uNDOUEasDNrctXD71t6a/wYmX81V1BAPu8WIxwePjKEk3//HOgiUryy+n13V50sjoWYbomAaFXdYBZyOPFdELJutGo9FZSREpGnlytgc+uSfdYWJ1fIUFc++olHl1JhU95schjilhCjooJVi/39uugXpFfZ8rZcbPBGuRetN7csZlNyr5+HnKSOsXZg/l9MWmcupXeX4hgU0qdAuGn6MWkKyEt9IfJ6Ld9djkcJTF0Odr6R5ZqcAvLrCvuK0hB1rHA8s8fFXDgOqjivdjtGsjyOTe/AbbzZl8iIOIQJSkf3gmK2Pr9kpAh3v4qxlD80ikq70hDMn7lRusxauuHVvXjM4V3mBoSmZb7oks9VZH5A0tf4sY3drzUMl8CmBiSVSFSFZ3ksQ8qnMtIho7WBNxfYfO9WEtMcKy27wyXXdpmY/T7XLB2QXu0KeC6gSn/P90D95fEuoF+vsp1eRyqoqEZr95bPiW3d7+4lwygbCUdTdaLPzL2BSxgYBLS9VqLvQMV2hbluh0edm1YobNUzirzbitodpUZTP3Xj4Ic1Y7TQKwGLfC7MWCyLbgNS2lmF+FkTgdzexpbXMaueYaJzqjqn1v1B2hAR6dj2Is3HnqoJOg8worEF6Gsh/QCeflQOXGkdnsTVkiUfrreBbKPFUAtrAp0fX7ld+NUXgyC2+biy99REE6dXC4DRFLU76fPGYtlZV/rjfDUhPLo69MaMN/UmYp1cu36FF1//lTizz3oYNlPtDvkrdYdpWUjBJdatoKxF0REQNJXY5gBUfa1A0ZQYMIYNWV9P7Z97Olde7bV/0Wylzk47NfNY5qNzfydLPAvs6NBR5mN++KN0dM72QvuR1IDktXvTcp9jIwXDooylpDIkjHkRELobBuS1YGRCfpbLGlntd7l85ghnXfHQwp+tH1GKtsVWSX2n9gVWQahQLQ77gJr3G3z6q32SOb+jn3oAjaSc1hozma/oxQDBM61ixwMFyqMVkOVb46TgBAq4U43wJiTLqTMCLhhbr6YNQh2tcoLv6lhXFlVkol9aqtqFMEal6cksawMJYwLnRT48A7mPFzfQ1+pZka/BOdyhHSV7micj8ONsScYI3ujpQ5HG8YaFYwZF3Hv86mB0As/u4R4pECMbOD50lOZgfBm7y+ZloxIRou4TIIMpmkK9NKU1Ko7reHyz7e7NSZpPTzMZvVuFdppbe+BvONyEVdZNMZYgW3fUoANNTTf48Bw4touuKCaapG/dBzHnUdzLyH6MLlCNDNQPZG9r+pyPkPv9i+mGXKiEJH+0fR/SQxSEerN6mTxeLt2WjSeXcrJ+v2WCUgigChqoM3ckAR6KC4KjS47SbQgCP7RSh/nhcEaOKGmQBMCkUDpTy9sfdRW3hl+mgfEY1okFGdTzn6uBw4cAKUVJzVuEc0Q9yikPpzWzOg7nGC1eZAsjFKqAnw5VR86lH0x7VaT6+th1KUH7gKj9bWkgCIt7QzWf8gR0weCmfKay1brn4GtLkrCFHzMf7/W+LBuVTya8tKmj4dDL4aa6Gv1iOvxCqpXHFewzQX0BUL9EDc7wBW22CmUgVyYQgrKOcQjy3a/z5/BGqxbxq5MK/adLDYQI9tWG1Ql3o4/gMZef4zdGyqX/CkbQ1SE/rT1UB/dgdPv3jAJO5YUYIsJK6n7MnJXVp0y93kollNmwMbIVCKGLRtyWDLn2F/UE9ZpeYx7MHyieOW+gPjysozRIDabAwToLOZVRq0F7BAG1qwOlZ9UJKpfg1M9N9ZvhCzlui/Oy0ilFRtk69rnobfO0NXV45Ap10/XJXOEqFcf62ZzsrAbpWaXIcb1NE0OF1Fs2QFAyLYm1Y033LzoC70W5PVxB1yx38oo8kA3EOaI5/uBFYA5BbmwxH87uCHRlhYO03UXidxVCAeM3gD+1SPygQADtz+iUDm+rqKRBbXfGBP9hOpa9Ast87eoCBiBqGMuUail6N2Ky1+4WzKsC/gGtfRiV0vJ5dpjdfEmVoTUhFY62ZMFV7NUdq9NqbkZ896UZV59sSF+z8j2SNoDbTjGOI4E4+mvWzCy2WXVl/P3Ec6GAyZ35fSsLNQvJHRuQI3wWolItoAgv32hgBd/BBG4YpaBuLdywyvKF/zyRslFjQCOR2Ni9xdE2Lxk9AlCl63WsZ/ZsajqSFfLgUrGCzbrXgEJ2CdMQPo1hdcq66HuqTK+b6fwpMjrtcVaBpln9Z1kV3nfOIjN4GOcm6IudRxFjozFuyi7HA/Pys67pz+rFgyTYKl4HdkmosLgzQApwX304Xkq2E3OMSoqnkGtKb8UyUvdPPImiZQQlPr6DecVVxDOsboyKd3+AWPvMRV5Z4DcaXgZWuU991hHdC4TBnr0lS5hmm5vJWUcmxurDkJ0uVLmH3Ih6mBlqVYT96DZsao3sRAKq63PQv3P4qZyDWIUZcLGOnxqNkWl23q0HMPb0q9wM7E6jJFQw9CaalzPz+Q0qlUsHQ8+IznnPzxJ24Rektv1UqbkuORdZtdsgtE5/OfdcSl1h2Xxr/7Z+WY5fZ0XKv01+ZaAm/vUX7npkJ1i1MI0lcCoC7iCCxk73FUxAQzGWTlr2DPzSIN2CDdDlSooiuuSfGT/JBlmzOMQYtlHeAkkkMnKgDS5dMhR2CUhCzzIzJPiwTsg+jzy8OIrFKv4HWtqnFgpkmO5q6uoTVxfWv4HEg1S06TAevBQWdTFrWf0z4zBNIJXgZj4vr+YaK4KNUvVmVl3+ez0pd94KA5YYShFA8CbngcvMdRPOYtqX/IUy/f0FV13qq1Q392DEE808S5azD+34otSQGzgdFxlT42cj99V2haIRnvXajWBfCAXY8q4OfF585KPLw0jT1WLJVZvfIM2SORA83ObY0ZB4na0KmkWRDoA8YASfFinYE1CFtFBhCW21S3u9csHCGuBmKqZDw5sF8VYtIScZiJW5K7DTrkpNxOGA1Kx70bUJUkGId+j2wJebmsHKNkvJXqqfjP4oGG0HLInCeKwjSCK4hWrUuBYGCS7N613tCTjKV/qPTrUK0pvM1tvFCf0DkUfJi9iYb/aljQUl2lokGllUrRKIryfnD0TbU3YEQ5SQvLQ8fTTViCm8ZPVseKj1YJDKBGM+oBPrbWqSgOt8NPwq4afc5sl/XkYkGZdqd9YYRRZ0PSCSZ8qO5S3ATO9OVa8pbR0IixALgei0KeeI+9NQOk90QdaYefgcy7i6aWyVXoL31cmil+wIIeRVnDjJX9iArICL3blhxjS4TqGdiu1HvNKao0EkLQX7A4SmHXH74EA3pQCFaKLnudxDwb8ho5xYW6QEKghfOliQNIbmV0np2RIQhj13kV2X9Tg/JebAJr24UyNQU1XQX6fvx6/W3N096Lvf1k0i8oxPl4mcxZxFdcM0J8/C6i2V2atQTCLe6pu4bWRscO3PquL5Ca2Mpq+ogu/dmSchEymsfTNO8kzc+8Z+PuGKdMoWfpHf7frgkhJcIchMAhiF2uxTpeYk8BawS+AvsNyASBkkwhM0bpVKxz2iqrSZmg4c5D4v0pYLpYzI+6xkTBQFrA9X/0EycyCilEB0XMySAD/9Krc3Be0KY114XxYfehxdHwqrrACY5jsfd7LmkJdCUQ6MhQh5k9gJyj6nOOcyR6CgIMWRdBPnZU8Xyt47HHcCXdUXgGwQvwj+iDDB8W74OqRNzvYmc4kPtNHHOjSu7x2j/eB59511lEfMizgc5DTy7mHNQ3kblhqd4Rk2w7CAQb0Z7fMIA4SomYmvbHqPVgYA4A+s1GRK49EtXr2viLlt3A/C0EtDSX5DbLhtlzMqIL0he/Ig+k6CuluysbfjF7KLFMDtVYN4MjhsKPQHJNX5H2opRWvqidOtqqY/w9UyS4/wo/TkDwVHhIB1ZRnpEOuwQRpG9Jl6OfOYuiVF0OIBx6rVKqZ6ng5eJiODwIkU6FH4l8XE1tPLtIbZKQfx1JkU/sHQ5ohDv/KDTBvcIvp5KOPW2sHNw0M0dL2iB1UXvnBKTHEShCzQKhLM9eXkQV5cFw2yLko0rgkWp+p7zi9IE79bMW9aXyCwhpCe1/u0uhdf6DzTZpej488wKxeaWb8r3wMIglN77x9pxl2jzn+I9wYucFrzB9eevuzCiVREt+kIR+imyNG4qz1GqiSEvo6Rak2OkbcYfCQVbYGa/8r0zIUnxY1xx/WksBhCWjoCYe4TPBr4ul9EGtCfcjC5P1IXAL+MnZEgGRANSO3+Pdolc9bDROfu2LJnXjtMJh9enwvK5mg4n1//XPren1Hqqo1hysBwAKCFBOub5U2th7Jj/u1/tUwkYYdRj5CkGE2mu79WLwIeRc75qu3t45tUPaKYINvffIHEaG8AMzGoaxNabayden9LSORFlvbK17HMJml7UUyhGBxP4AO+SrCTfpfsXZY/eCUTH5dpd1LUT0Y/PXjV+Z4Mtwxc/K55KgvMxcchI4nswu6x6Xn1sYUoPa7zmGjlf3pUk+FUmS3VSO5I6WyETgyr6qhbt61PFWt3SaqHacaSxgnr5wHXzwexE+U+DmEGdFBTA+K471TxL686JDKqQCHC4kH1I2I1djWl3C/H8tWITSL0i9j+cd1WAqaI4MMlA0uuuXDU9LdQdu/hkO40KnTWuEwUXLDcJ2Z7A+7mLEbpvbhHjcduSgHhPNnBwuR8I757QCWperpqfx/5XI6dJUqjHiFYJdQ0FTRu3VmUbC7PygdhxltQRKcm/aJSTOLYaujnp5UBRxm3Wb4XLvJIcCPyQQ30SNq0cvR2TwnQ/U/jyIUD1hkrXqRsIW9K/EKR8V81c7P+knyBdz1SIyokhgJOaeqwpYnjivF3+LOcPY5Dx+uZQ3GY9Kdr/+Bup57HBOQMaEscBR+Q1bJzPWY1vc3HCsjkR0FIf3oZJfEt9BMKtDeczQqYUntw8SuJrIa7K4kiFngv4/B0vvSAP/357dS4g8rOWe2PmHDdMYJoWR1CeoYHrRwlG+Na1zauK2wFPWOydovGppq+6cJ6N+K2GOQ15m4vLbP8KtLNWNRojbyt/YovMnnu7H9he2TVPJA5yPufO4uCsWz0lqx92epVVpNgI6HzlcvZFi96w7cCjHlOkPysTrRhloXhcOL68gT+DGxn0d5wWp1v/5T5Xk8Pok9m2Z+5308IgzGr/6MNX7n9rKl4PfL67/mJK2stsbRjHUDScBAwrfTupGtNC/SKT0acAI0FbmR5uTDFm0/GOezixJ7wJqG1D4YmwiLUev0hnY4yhdYE1kMkConRCKKGh27debl4urqofVpfEZbmEiQal+IDnsFO6Em8vTnJEAnwbo5It3atWtBRSzcQoG2P+f8iq5PsVItZIf69DWJAQkJtA6nYeN3Ckv3imNd/3tsWKG8x5IwgNhg1Hj/ZE4dtTXwQ+feoqQthszDNvhWO6u7g+Kl7z2okUT8QFRRHh98SgkuAJdkzDtZNbvfkb2RgLm6mZ+E1D1bJstr8MXQyBxL3j1CddNSY8r73+811VpJdNs11/cA1v8MCrg9IQorQn0U6VEGjiORJp14RXh3B0JJwKZNBFxgTIIVBo37O0ZZwu6z+ZDUT9YF60cM83X+96G0mEyWS7eAjLP/p4OSZ1tzKm84xbxB6pfqni2qBELtdwoof7s+oX19zrGDkINlIseZ4OUJ2Mz6t391VGiPTftulLr6qObi06UQ2JBz6FKtd0dewidA4TupcBysN6LMzwBistkS1356/LlIaDh0WK6blL9Ff7By/Kj0irhaM/iNpW29L1cRbLGM3Ucu4Jpbxga5Rd09raX036As9JI+HDwyy7jGYB2lMwfF4kncHGI+9xkB2Jc2lEUL07EyFFZlEUQSJ76+tlP6XzIyhUb1OGAVp26vucvmAyM3BIzwlu9vD2NL/nXqahcUuaCf8krn/RIEcnHy/y6Yv/PbhBPvZyUoaZAgSReoUNVLqAoFRQwr4p27V+UHEEMgydzLUA/QtjsOOguMn6M47g1sa3W9M4t7VsBcStKJZ0JNog6W5nH0LL6lSTX2sUlywUeXCjxhorYwQ4u3tfNiuSZGAOLSI1aaqihdT7LH80FYXVW/1+KziN7nXY9HkzejqJbIzdKq7Kf05zCxdWPvIW83W04iUpEHyF08L8q/sE5JgUuTF/iNXi0625INlfe58M4/t122Zj3uLOsAE9pl29I5OHyDcnXfGgcLJ5Ebe1dmXDsvKibYvukFegMisNGAHlvy4n5/AHFUwfdsbZ/TSYPuHShumznrOHvN+gdWBqjEyBEfwv5kmnUb2po3uslH+yk5bRgfV0xJz+k5mJ9k1sb//1/wJtlfCDfcMomRMEUSZiRr156cc0psFKrZ0ks1eJwmv1s7mdGtoloM4FHgBy/uKbp+GjDEUJxiY33m9s1ZfZcpzQ2pDl3C0VY/VnedqjAcav+jqZrYEc+y5HN6c7+p6ATebH1htXc6jlzavvIJAkB0ZZix9QWd8Y/La3F3bpXar/prRwZ6Yv6ME4OYo7mN4njKgMSOJ/6wMGoTgPIMlZbMV6LC4I3g7d/N6r7LvvO2FmLCDZdJdIt8sJtkqZE0KgLcO+EuQC+iwbeMYk3ASo6Y0hfKElZHXM65/H/6qDO/gJvi5cqH/gGTdEe039h1tq2nx6WKzwD5VNh7ZZyqAmSq4znJND12OEEriadF4JNor1fNK6Ll3p43QZTd5xOnWalRco97LZo3WKj1ErbCeblluLyKpMwFvVkaJjgnI2GmA3xOISPmjl0kXO0OqtYP7n6JIuReFFa+H1O3ehzC3l5VyzD3QD7+hSiZjZ/+yvjG/BVsPGAQbUpkhwQFD7NVDcDyOf6Q/DN6vy8abyZp5K1gnaskd1oQkRqanCujO7Rnph+i/r+5A4dzjZoYc5/pBsnXp+NGruimS0VR8oVeDXnE5WNjq7N/f7DTXxsijnyC91seo0m1ntG/SXzkd2Bu8fqmJYsFm+MyJxe1ihQbuSgCTSkEu/TEmE5mmU3GGI8dD4IpS2VIHBnYaBGBxaCiGDyx+aOHqBqqGRxFubO4bD6+oJlsykVlkMBp310PbGKlT6/bQFzUPojqK1MA8RTX1RSC4ao9VpG2GVYFuVnZU2QgyT8psSMCD7mnR+x1MrPyz4uAgxSbUKFwVvIUQseJUq4NuQhBcajF1qhOEJ9gxfzjs5A6X1CqXReMs5Qjuz5hjRsNfoCyurSjWuzHyoyOlIHSuMAmhhaGaP4bIBYwnZ5Jqk7g5NiC6vqtVTfyhQinFFgvpUWwXNk0r9G0QvPATjFFioPlNojNnkNVTHXfwlhUUMPM3L65gnJcV4JbXjwRw1dzM/QBF4/6/G7wEkc7mmzS5Yk5KMo4lNuMetBwW9uMHJ2OnL3P/AVrCz25NvpUux1wRR387bIJ3RnLcV4Wp8klaaMd113Kj6IFnqfrTd6TUZIgaMLe49ygfeOpAK3M7zz+FdzMS1LeszuJSo0FC4iL7tZ6Y+/4/pYXYfFMM5ECJgA8HtvrhyvTRTaWZg79tMLmpm1IHj4rOiZF0DMLw/x0BZHw8ZyuUfIP0KgFMnj+3zC2q8tGgQLOvo9J2B/62SWVUHE/PdssPusSITm8FybQd4EmzLsV2LNB6vueBTpu+zWe2MXDONbxpkey1kEAaiF+KYI9kkoTnmqSK2FB+iSI9RV7143+mT/UhQk1piqhNnNLw09ehoLpqJfwzMBG6dft+yNDixV9gasL9FTfY/iAFJn9BvXRNDOgp1KXwccPcddkbQ5R+XM8Rhwm9uQgYI1TdlOPd/+hA4LecVIhiCSmg/sV1oYQjbs+n5YY1NMGYGBICd85JIdDf3v8KbFOqHiJzZK2KqUr4eoE97Tw9rCrkrP74lsTYHRCVIqNUdoZ++XzXRDblea/2hL1gPtcPPzaD0dBaEFO6+zoSWRirRpI5honM7TuqBREz+c+DdF0Fjm1wzbvcRA1z+DJuSIIJTOeiTx7je5FQqJQUsBEWUrPfPyCgXQ3Hu+cicJZXIONADpqdLgSQcw1jyfOI4yeKneY5BIVFh15QirE6tPD6n1+k8S016190s/8CVM44NrxhDaDm5ilndLqNlNfTJguyb6k4BgxlQaHJ3Bxr3KI4W4MzLYZySjogUoAH7APh5JWLE1kYJrg0WmnGu6vpgaynPdioft+W8IuI9KGmkEJkQx2dM6maS+0bWAKxvtltBokDDJAaaabPPlc9UTj2bSshiWGB9n7EfyA57mDp/zGjlGHuin/IQmu54/0mMg0ZNJiQTjJjimJ53ALM8SOn27Y13P4AQ3yxr4CE7p2n9RdrsittrwQhWE2OcL/OBQphHFPG5SbzJ4V3Gs9NEV4xY6RntBC4XCIP3OS/JDMDLMJPFZFM6z0D9OTi9KiJgfEpjst9fDYTIs7+Vv9Rs4wxLzEH8aM9nS8F0QdlNV04VjRu4jpXwTtI7uHp3a2SOs27+XvZ9u2dWXrk1I0HgJnXlBgiDAHDMhitG36ZgCakyIQBCS9p9d+F1R8dPwddWo/KS0RDBr4tjleNNki+ECQUvyjolJDYCfOOVLUjGFMaQtjSW78bN4lawra5RIjPxyLpViPvB+Y4uDWW0CtGTwsitOSW6Y1wKWxwnBJVVpw7k7FYlkF9/UwvL9FgNgmUeRNlpz6BYH+ZRRNUZ6FT+u14vjWPjR3jXnp59L98/5oPL9Dd50cDTivHsk0xX95p0yAsrLj2aoydjMOuZ5MfVMkY5QOcWKo3vy5n7FWjvWilZSOXB1NVglgQeCvFMAcqRZnimbaWtLwYEK0b1uu457TOgrICkNGNzCkE6ybC8PFxls1SH80sL063oJJCjERSymLbBqUjB9IqjD0eR2Sl8NqTcRPQcMOcnx3fBxJgaihPVV2k8tBvpKcSoLlhhZxuzVXbn2QDNs6WeOz6RIBauKObbe4qm9mkPMyb+AD4tzX35obnQHix9NTy6XK5yRz+Kv6VZISHEnK7TWsF0h/twFpMoUTxXxeYfMrgDHp9IR5Fs5JQHWAnrczXOguIRRwKgvKcQHuI9duYeabtyzTq/P9GR6xMWuR50fj2SahxdrEIHE4jBhCtajpzzcVUeUK9ZYdClSIRCcOUq/9rgr9aUn1DvdE74C64Iha7SuCnOUX68BSNynheNZHbZtdAdUnGik/CIsF2YyPg59uRv8pK1DqsDTzEqz7b8AV45WpiNLSCR1+VhMfF8MOQi9HwAU6rwRdlXYL7bz8VqlNRKvjC2GqO0j0F2+FsEkqxNrv4GbHwO7kejNojsOqaKgrS/MDswEnkLyScBnGxxwj+tWnoqMJp/yEKhAhWafzhsJROfzDz2TGyv6vW5iin7Wjcfgp0oCc7zbr+K7f6onegatPlU3UrGGaBfC4U7F/7KsIu0YV0uuRvxU8kAZsNMgXqEuogG5mfEDjQIiI5lWMPqhX1XLrSb4h91GnnKpNfmrO08JntECcojBlysQRL+xD8IPTOpXTViX/HJIsgRPZxd/Jxi8ez6xovJsrETG1/z966ZAVcXGzWE3Tf4Gpegm4YJ5kg4lKOAX+tonLF" title="Mekko Graphics Chart">
            <a:extLst>
              <a:ext uri="{FF2B5EF4-FFF2-40B4-BE49-F238E27FC236}">
                <a16:creationId xmlns:a16="http://schemas.microsoft.com/office/drawing/2014/main" id="{7163778C-BC9B-4B05-8AEF-8EE24A152DCB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gray">
          <a:xfrm>
            <a:off x="8287640" y="1791624"/>
            <a:ext cx="3565858" cy="4773016"/>
          </a:xfrm>
          <a:prstGeom prst="rect">
            <a:avLst/>
          </a:prstGeom>
          <a:blipFill>
            <a:blip r:embed="rId21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rgbClr val="CC0000"/>
              </a:solidFill>
            </a:endParaRPr>
          </a:p>
        </p:txBody>
      </p:sp>
      <p:grpSp>
        <p:nvGrpSpPr>
          <p:cNvPr id="44" name="btfpStatusSticker644127">
            <a:extLst>
              <a:ext uri="{FF2B5EF4-FFF2-40B4-BE49-F238E27FC236}">
                <a16:creationId xmlns:a16="http://schemas.microsoft.com/office/drawing/2014/main" id="{AABF51E6-C0A4-403B-B6FA-BDE6D8425D17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10349719" y="955344"/>
            <a:ext cx="1512081" cy="235611"/>
            <a:chOff x="10349719" y="955344"/>
            <a:chExt cx="1512081" cy="235611"/>
          </a:xfrm>
        </p:grpSpPr>
        <p:sp>
          <p:nvSpPr>
            <p:cNvPr id="45" name="btfpStatusStickerText644127">
              <a:extLst>
                <a:ext uri="{FF2B5EF4-FFF2-40B4-BE49-F238E27FC236}">
                  <a16:creationId xmlns:a16="http://schemas.microsoft.com/office/drawing/2014/main" id="{7F5CD18A-1D31-4428-8692-ED101E5849A8}"/>
                </a:ext>
              </a:extLst>
            </p:cNvPr>
            <p:cNvSpPr txBox="1"/>
            <p:nvPr/>
          </p:nvSpPr>
          <p:spPr bwMode="gray">
            <a:xfrm>
              <a:off x="10349719" y="955344"/>
              <a:ext cx="1512081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Instagram</a:t>
              </a:r>
            </a:p>
          </p:txBody>
        </p:sp>
        <p:cxnSp>
          <p:nvCxnSpPr>
            <p:cNvPr id="46" name="btfpStatusStickerLine644127">
              <a:extLst>
                <a:ext uri="{FF2B5EF4-FFF2-40B4-BE49-F238E27FC236}">
                  <a16:creationId xmlns:a16="http://schemas.microsoft.com/office/drawing/2014/main" id="{1BB23129-964F-4A44-994F-7F5B5ECD1F7D}"/>
                </a:ext>
              </a:extLst>
            </p:cNvPr>
            <p:cNvCxnSpPr/>
            <p:nvPr/>
          </p:nvCxnSpPr>
          <p:spPr bwMode="gray">
            <a:xfrm rot="720000">
              <a:off x="10349719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E97A0442-A2A3-ECAD-D2BE-1C864CA8E76D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707177" y="2315415"/>
            <a:ext cx="294678" cy="2538045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F59D663-60D0-4361-3FF7-8EDBD87607C2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4618597" y="2290327"/>
            <a:ext cx="292450" cy="2487156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ACC2D2C8-BA67-369E-9064-69BD8197EEE1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8797646" y="2315415"/>
            <a:ext cx="272723" cy="2634041"/>
          </a:xfrm>
          <a:prstGeom prst="rect">
            <a:avLst/>
          </a:prstGeom>
          <a:noFill/>
          <a:ln w="190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7" name="btfpRunningAgenda1Level188110">
            <a:extLst>
              <a:ext uri="{FF2B5EF4-FFF2-40B4-BE49-F238E27FC236}">
                <a16:creationId xmlns:a16="http://schemas.microsoft.com/office/drawing/2014/main" id="{045C53AB-41E8-5766-B957-C1B59D12BB84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0" y="944429"/>
            <a:ext cx="3901929" cy="257442"/>
            <a:chOff x="0" y="876300"/>
            <a:chExt cx="3901929" cy="257442"/>
          </a:xfrm>
        </p:grpSpPr>
        <p:sp>
          <p:nvSpPr>
            <p:cNvPr id="8" name="btfpRunningAgenda1LevelBarLeft188110">
              <a:extLst>
                <a:ext uri="{FF2B5EF4-FFF2-40B4-BE49-F238E27FC236}">
                  <a16:creationId xmlns:a16="http://schemas.microsoft.com/office/drawing/2014/main" id="{4F1FDC84-258B-FA02-E2E2-5C6685284540}"/>
                </a:ext>
              </a:extLst>
            </p:cNvPr>
            <p:cNvSpPr/>
            <p:nvPr/>
          </p:nvSpPr>
          <p:spPr bwMode="gray">
            <a:xfrm>
              <a:off x="0" y="876300"/>
              <a:ext cx="3901929" cy="257442"/>
            </a:xfrm>
            <a:custGeom>
              <a:avLst/>
              <a:gdLst>
                <a:gd name="connsiteX0" fmla="*/ 883475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883475 w 1816204"/>
                <a:gd name="connsiteY0" fmla="*/ 0 h 257442"/>
                <a:gd name="connsiteX1" fmla="*/ 828755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883475 w 883475"/>
                <a:gd name="connsiteY0" fmla="*/ 0 h 257442"/>
                <a:gd name="connsiteX1" fmla="*/ 828755 w 883475"/>
                <a:gd name="connsiteY1" fmla="*/ 257442 h 257442"/>
                <a:gd name="connsiteX2" fmla="*/ 1 w 883475"/>
                <a:gd name="connsiteY2" fmla="*/ 257442 h 257442"/>
                <a:gd name="connsiteX3" fmla="*/ 0 w 883475"/>
                <a:gd name="connsiteY3" fmla="*/ 257442 h 257442"/>
                <a:gd name="connsiteX0" fmla="*/ 883474 w 883474"/>
                <a:gd name="connsiteY0" fmla="*/ 0 h 257442"/>
                <a:gd name="connsiteX1" fmla="*/ 828754 w 883474"/>
                <a:gd name="connsiteY1" fmla="*/ 257442 h 257442"/>
                <a:gd name="connsiteX2" fmla="*/ 0 w 883474"/>
                <a:gd name="connsiteY2" fmla="*/ 257442 h 257442"/>
                <a:gd name="connsiteX3" fmla="*/ 1 w 883474"/>
                <a:gd name="connsiteY3" fmla="*/ 0 h 257442"/>
                <a:gd name="connsiteX0" fmla="*/ 1051790 w 1051790"/>
                <a:gd name="connsiteY0" fmla="*/ 0 h 257442"/>
                <a:gd name="connsiteX1" fmla="*/ 828754 w 1051790"/>
                <a:gd name="connsiteY1" fmla="*/ 257442 h 257442"/>
                <a:gd name="connsiteX2" fmla="*/ 0 w 1051790"/>
                <a:gd name="connsiteY2" fmla="*/ 257442 h 257442"/>
                <a:gd name="connsiteX3" fmla="*/ 1 w 1051790"/>
                <a:gd name="connsiteY3" fmla="*/ 0 h 257442"/>
                <a:gd name="connsiteX0" fmla="*/ 1051790 w 1051790"/>
                <a:gd name="connsiteY0" fmla="*/ 0 h 257442"/>
                <a:gd name="connsiteX1" fmla="*/ 997069 w 1051790"/>
                <a:gd name="connsiteY1" fmla="*/ 257442 h 257442"/>
                <a:gd name="connsiteX2" fmla="*/ 0 w 1051790"/>
                <a:gd name="connsiteY2" fmla="*/ 257442 h 257442"/>
                <a:gd name="connsiteX3" fmla="*/ 1 w 1051790"/>
                <a:gd name="connsiteY3" fmla="*/ 0 h 257442"/>
                <a:gd name="connsiteX0" fmla="*/ 1051790 w 1051790"/>
                <a:gd name="connsiteY0" fmla="*/ 0 h 257442"/>
                <a:gd name="connsiteX1" fmla="*/ 997069 w 1051790"/>
                <a:gd name="connsiteY1" fmla="*/ 257442 h 257442"/>
                <a:gd name="connsiteX2" fmla="*/ 0 w 1051790"/>
                <a:gd name="connsiteY2" fmla="*/ 257442 h 257442"/>
                <a:gd name="connsiteX3" fmla="*/ 1 w 1051790"/>
                <a:gd name="connsiteY3" fmla="*/ 0 h 257442"/>
                <a:gd name="connsiteX0" fmla="*/ 1051790 w 1051790"/>
                <a:gd name="connsiteY0" fmla="*/ 0 h 257442"/>
                <a:gd name="connsiteX1" fmla="*/ 997069 w 1051790"/>
                <a:gd name="connsiteY1" fmla="*/ 257442 h 257442"/>
                <a:gd name="connsiteX2" fmla="*/ 0 w 1051790"/>
                <a:gd name="connsiteY2" fmla="*/ 257442 h 257442"/>
                <a:gd name="connsiteX3" fmla="*/ 0 w 1051790"/>
                <a:gd name="connsiteY3" fmla="*/ 0 h 257442"/>
                <a:gd name="connsiteX0" fmla="*/ 1356360 w 1356360"/>
                <a:gd name="connsiteY0" fmla="*/ 0 h 257442"/>
                <a:gd name="connsiteX1" fmla="*/ 997069 w 1356360"/>
                <a:gd name="connsiteY1" fmla="*/ 257442 h 257442"/>
                <a:gd name="connsiteX2" fmla="*/ 0 w 1356360"/>
                <a:gd name="connsiteY2" fmla="*/ 257442 h 257442"/>
                <a:gd name="connsiteX3" fmla="*/ 0 w 1356360"/>
                <a:gd name="connsiteY3" fmla="*/ 0 h 257442"/>
                <a:gd name="connsiteX0" fmla="*/ 1356360 w 1356360"/>
                <a:gd name="connsiteY0" fmla="*/ 0 h 257442"/>
                <a:gd name="connsiteX1" fmla="*/ 1301639 w 1356360"/>
                <a:gd name="connsiteY1" fmla="*/ 257442 h 257442"/>
                <a:gd name="connsiteX2" fmla="*/ 0 w 1356360"/>
                <a:gd name="connsiteY2" fmla="*/ 257442 h 257442"/>
                <a:gd name="connsiteX3" fmla="*/ 0 w 1356360"/>
                <a:gd name="connsiteY3" fmla="*/ 0 h 257442"/>
                <a:gd name="connsiteX0" fmla="*/ 1356360 w 1356360"/>
                <a:gd name="connsiteY0" fmla="*/ 0 h 257442"/>
                <a:gd name="connsiteX1" fmla="*/ 1301639 w 1356360"/>
                <a:gd name="connsiteY1" fmla="*/ 257442 h 257442"/>
                <a:gd name="connsiteX2" fmla="*/ 0 w 1356360"/>
                <a:gd name="connsiteY2" fmla="*/ 257442 h 257442"/>
                <a:gd name="connsiteX3" fmla="*/ 0 w 1356360"/>
                <a:gd name="connsiteY3" fmla="*/ 0 h 257442"/>
                <a:gd name="connsiteX0" fmla="*/ 1356360 w 1356360"/>
                <a:gd name="connsiteY0" fmla="*/ 0 h 257442"/>
                <a:gd name="connsiteX1" fmla="*/ 1301639 w 1356360"/>
                <a:gd name="connsiteY1" fmla="*/ 257442 h 257442"/>
                <a:gd name="connsiteX2" fmla="*/ 0 w 1356360"/>
                <a:gd name="connsiteY2" fmla="*/ 257442 h 257442"/>
                <a:gd name="connsiteX3" fmla="*/ 0 w 1356360"/>
                <a:gd name="connsiteY3" fmla="*/ 0 h 257442"/>
                <a:gd name="connsiteX0" fmla="*/ 1524676 w 1524676"/>
                <a:gd name="connsiteY0" fmla="*/ 0 h 257442"/>
                <a:gd name="connsiteX1" fmla="*/ 1301639 w 1524676"/>
                <a:gd name="connsiteY1" fmla="*/ 257442 h 257442"/>
                <a:gd name="connsiteX2" fmla="*/ 0 w 1524676"/>
                <a:gd name="connsiteY2" fmla="*/ 257442 h 257442"/>
                <a:gd name="connsiteX3" fmla="*/ 0 w 1524676"/>
                <a:gd name="connsiteY3" fmla="*/ 0 h 257442"/>
                <a:gd name="connsiteX0" fmla="*/ 1524676 w 1524676"/>
                <a:gd name="connsiteY0" fmla="*/ 0 h 257442"/>
                <a:gd name="connsiteX1" fmla="*/ 1469955 w 1524676"/>
                <a:gd name="connsiteY1" fmla="*/ 257442 h 257442"/>
                <a:gd name="connsiteX2" fmla="*/ 0 w 1524676"/>
                <a:gd name="connsiteY2" fmla="*/ 257442 h 257442"/>
                <a:gd name="connsiteX3" fmla="*/ 0 w 1524676"/>
                <a:gd name="connsiteY3" fmla="*/ 0 h 257442"/>
                <a:gd name="connsiteX0" fmla="*/ 1524676 w 1524676"/>
                <a:gd name="connsiteY0" fmla="*/ 0 h 257442"/>
                <a:gd name="connsiteX1" fmla="*/ 1469955 w 1524676"/>
                <a:gd name="connsiteY1" fmla="*/ 257442 h 257442"/>
                <a:gd name="connsiteX2" fmla="*/ 0 w 1524676"/>
                <a:gd name="connsiteY2" fmla="*/ 257442 h 257442"/>
                <a:gd name="connsiteX3" fmla="*/ 0 w 1524676"/>
                <a:gd name="connsiteY3" fmla="*/ 0 h 257442"/>
                <a:gd name="connsiteX0" fmla="*/ 1524676 w 1524676"/>
                <a:gd name="connsiteY0" fmla="*/ 0 h 257442"/>
                <a:gd name="connsiteX1" fmla="*/ 1469955 w 1524676"/>
                <a:gd name="connsiteY1" fmla="*/ 257442 h 257442"/>
                <a:gd name="connsiteX2" fmla="*/ 0 w 1524676"/>
                <a:gd name="connsiteY2" fmla="*/ 257442 h 257442"/>
                <a:gd name="connsiteX3" fmla="*/ 0 w 1524676"/>
                <a:gd name="connsiteY3" fmla="*/ 0 h 257442"/>
                <a:gd name="connsiteX0" fmla="*/ 1684976 w 1684976"/>
                <a:gd name="connsiteY0" fmla="*/ 0 h 257442"/>
                <a:gd name="connsiteX1" fmla="*/ 14699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853291 w 1853291"/>
                <a:gd name="connsiteY0" fmla="*/ 0 h 257442"/>
                <a:gd name="connsiteX1" fmla="*/ 1630255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2021607 w 2021607"/>
                <a:gd name="connsiteY0" fmla="*/ 0 h 257442"/>
                <a:gd name="connsiteX1" fmla="*/ 1798570 w 2021607"/>
                <a:gd name="connsiteY1" fmla="*/ 257442 h 257442"/>
                <a:gd name="connsiteX2" fmla="*/ 0 w 2021607"/>
                <a:gd name="connsiteY2" fmla="*/ 257442 h 257442"/>
                <a:gd name="connsiteX3" fmla="*/ 0 w 2021607"/>
                <a:gd name="connsiteY3" fmla="*/ 0 h 257442"/>
                <a:gd name="connsiteX0" fmla="*/ 2021607 w 2021607"/>
                <a:gd name="connsiteY0" fmla="*/ 0 h 257442"/>
                <a:gd name="connsiteX1" fmla="*/ 1966886 w 2021607"/>
                <a:gd name="connsiteY1" fmla="*/ 257442 h 257442"/>
                <a:gd name="connsiteX2" fmla="*/ 0 w 2021607"/>
                <a:gd name="connsiteY2" fmla="*/ 257442 h 257442"/>
                <a:gd name="connsiteX3" fmla="*/ 0 w 2021607"/>
                <a:gd name="connsiteY3" fmla="*/ 0 h 257442"/>
                <a:gd name="connsiteX0" fmla="*/ 2021607 w 2021607"/>
                <a:gd name="connsiteY0" fmla="*/ 0 h 257442"/>
                <a:gd name="connsiteX1" fmla="*/ 1966886 w 2021607"/>
                <a:gd name="connsiteY1" fmla="*/ 257442 h 257442"/>
                <a:gd name="connsiteX2" fmla="*/ 0 w 2021607"/>
                <a:gd name="connsiteY2" fmla="*/ 257442 h 257442"/>
                <a:gd name="connsiteX3" fmla="*/ 0 w 2021607"/>
                <a:gd name="connsiteY3" fmla="*/ 0 h 257442"/>
                <a:gd name="connsiteX0" fmla="*/ 2021607 w 2021607"/>
                <a:gd name="connsiteY0" fmla="*/ 0 h 257442"/>
                <a:gd name="connsiteX1" fmla="*/ 1966886 w 2021607"/>
                <a:gd name="connsiteY1" fmla="*/ 257442 h 257442"/>
                <a:gd name="connsiteX2" fmla="*/ 0 w 2021607"/>
                <a:gd name="connsiteY2" fmla="*/ 257442 h 257442"/>
                <a:gd name="connsiteX3" fmla="*/ 0 w 2021607"/>
                <a:gd name="connsiteY3" fmla="*/ 0 h 257442"/>
                <a:gd name="connsiteX0" fmla="*/ 2181907 w 2181907"/>
                <a:gd name="connsiteY0" fmla="*/ 0 h 257442"/>
                <a:gd name="connsiteX1" fmla="*/ 1966886 w 2181907"/>
                <a:gd name="connsiteY1" fmla="*/ 257442 h 257442"/>
                <a:gd name="connsiteX2" fmla="*/ 0 w 2181907"/>
                <a:gd name="connsiteY2" fmla="*/ 257442 h 257442"/>
                <a:gd name="connsiteX3" fmla="*/ 0 w 2181907"/>
                <a:gd name="connsiteY3" fmla="*/ 0 h 257442"/>
                <a:gd name="connsiteX0" fmla="*/ 2181907 w 2181907"/>
                <a:gd name="connsiteY0" fmla="*/ 0 h 257442"/>
                <a:gd name="connsiteX1" fmla="*/ 2127186 w 2181907"/>
                <a:gd name="connsiteY1" fmla="*/ 257442 h 257442"/>
                <a:gd name="connsiteX2" fmla="*/ 0 w 2181907"/>
                <a:gd name="connsiteY2" fmla="*/ 257442 h 257442"/>
                <a:gd name="connsiteX3" fmla="*/ 0 w 2181907"/>
                <a:gd name="connsiteY3" fmla="*/ 0 h 257442"/>
                <a:gd name="connsiteX0" fmla="*/ 2181907 w 2181907"/>
                <a:gd name="connsiteY0" fmla="*/ 0 h 257442"/>
                <a:gd name="connsiteX1" fmla="*/ 2127186 w 2181907"/>
                <a:gd name="connsiteY1" fmla="*/ 257442 h 257442"/>
                <a:gd name="connsiteX2" fmla="*/ 0 w 2181907"/>
                <a:gd name="connsiteY2" fmla="*/ 257442 h 257442"/>
                <a:gd name="connsiteX3" fmla="*/ 0 w 2181907"/>
                <a:gd name="connsiteY3" fmla="*/ 0 h 257442"/>
                <a:gd name="connsiteX0" fmla="*/ 2181907 w 2181907"/>
                <a:gd name="connsiteY0" fmla="*/ 0 h 257442"/>
                <a:gd name="connsiteX1" fmla="*/ 2127186 w 2181907"/>
                <a:gd name="connsiteY1" fmla="*/ 257442 h 257442"/>
                <a:gd name="connsiteX2" fmla="*/ 0 w 2181907"/>
                <a:gd name="connsiteY2" fmla="*/ 257442 h 257442"/>
                <a:gd name="connsiteX3" fmla="*/ 0 w 2181907"/>
                <a:gd name="connsiteY3" fmla="*/ 0 h 257442"/>
                <a:gd name="connsiteX0" fmla="*/ 2350222 w 2350222"/>
                <a:gd name="connsiteY0" fmla="*/ 0 h 257442"/>
                <a:gd name="connsiteX1" fmla="*/ 2127186 w 2350222"/>
                <a:gd name="connsiteY1" fmla="*/ 257442 h 257442"/>
                <a:gd name="connsiteX2" fmla="*/ 0 w 2350222"/>
                <a:gd name="connsiteY2" fmla="*/ 257442 h 257442"/>
                <a:gd name="connsiteX3" fmla="*/ 0 w 2350222"/>
                <a:gd name="connsiteY3" fmla="*/ 0 h 257442"/>
                <a:gd name="connsiteX0" fmla="*/ 2350222 w 2350222"/>
                <a:gd name="connsiteY0" fmla="*/ 0 h 257442"/>
                <a:gd name="connsiteX1" fmla="*/ 2295500 w 2350222"/>
                <a:gd name="connsiteY1" fmla="*/ 257442 h 257442"/>
                <a:gd name="connsiteX2" fmla="*/ 0 w 2350222"/>
                <a:gd name="connsiteY2" fmla="*/ 257442 h 257442"/>
                <a:gd name="connsiteX3" fmla="*/ 0 w 2350222"/>
                <a:gd name="connsiteY3" fmla="*/ 0 h 257442"/>
                <a:gd name="connsiteX0" fmla="*/ 2350223 w 2350223"/>
                <a:gd name="connsiteY0" fmla="*/ 0 h 257442"/>
                <a:gd name="connsiteX1" fmla="*/ 2295501 w 2350223"/>
                <a:gd name="connsiteY1" fmla="*/ 257442 h 257442"/>
                <a:gd name="connsiteX2" fmla="*/ 0 w 2350223"/>
                <a:gd name="connsiteY2" fmla="*/ 257442 h 257442"/>
                <a:gd name="connsiteX3" fmla="*/ 1 w 2350223"/>
                <a:gd name="connsiteY3" fmla="*/ 0 h 257442"/>
                <a:gd name="connsiteX0" fmla="*/ 2350223 w 2350223"/>
                <a:gd name="connsiteY0" fmla="*/ 0 h 257442"/>
                <a:gd name="connsiteX1" fmla="*/ 2295501 w 2350223"/>
                <a:gd name="connsiteY1" fmla="*/ 257442 h 257442"/>
                <a:gd name="connsiteX2" fmla="*/ 0 w 2350223"/>
                <a:gd name="connsiteY2" fmla="*/ 257442 h 257442"/>
                <a:gd name="connsiteX3" fmla="*/ 1 w 2350223"/>
                <a:gd name="connsiteY3" fmla="*/ 0 h 257442"/>
                <a:gd name="connsiteX0" fmla="*/ 2637161 w 2637161"/>
                <a:gd name="connsiteY0" fmla="*/ 0 h 257442"/>
                <a:gd name="connsiteX1" fmla="*/ 2295501 w 2637161"/>
                <a:gd name="connsiteY1" fmla="*/ 257442 h 257442"/>
                <a:gd name="connsiteX2" fmla="*/ 0 w 2637161"/>
                <a:gd name="connsiteY2" fmla="*/ 257442 h 257442"/>
                <a:gd name="connsiteX3" fmla="*/ 1 w 2637161"/>
                <a:gd name="connsiteY3" fmla="*/ 0 h 257442"/>
                <a:gd name="connsiteX0" fmla="*/ 2637161 w 2637161"/>
                <a:gd name="connsiteY0" fmla="*/ 0 h 257442"/>
                <a:gd name="connsiteX1" fmla="*/ 2582440 w 2637161"/>
                <a:gd name="connsiteY1" fmla="*/ 257442 h 257442"/>
                <a:gd name="connsiteX2" fmla="*/ 0 w 2637161"/>
                <a:gd name="connsiteY2" fmla="*/ 257442 h 257442"/>
                <a:gd name="connsiteX3" fmla="*/ 1 w 2637161"/>
                <a:gd name="connsiteY3" fmla="*/ 0 h 257442"/>
                <a:gd name="connsiteX0" fmla="*/ 2637160 w 2637160"/>
                <a:gd name="connsiteY0" fmla="*/ 0 h 257442"/>
                <a:gd name="connsiteX1" fmla="*/ 2582439 w 2637160"/>
                <a:gd name="connsiteY1" fmla="*/ 257442 h 257442"/>
                <a:gd name="connsiteX2" fmla="*/ 0 w 2637160"/>
                <a:gd name="connsiteY2" fmla="*/ 257442 h 257442"/>
                <a:gd name="connsiteX3" fmla="*/ 0 w 2637160"/>
                <a:gd name="connsiteY3" fmla="*/ 0 h 257442"/>
                <a:gd name="connsiteX0" fmla="*/ 2637161 w 2637161"/>
                <a:gd name="connsiteY0" fmla="*/ 0 h 257442"/>
                <a:gd name="connsiteX1" fmla="*/ 2582440 w 2637161"/>
                <a:gd name="connsiteY1" fmla="*/ 257442 h 257442"/>
                <a:gd name="connsiteX2" fmla="*/ 1 w 2637161"/>
                <a:gd name="connsiteY2" fmla="*/ 257442 h 257442"/>
                <a:gd name="connsiteX3" fmla="*/ 0 w 2637161"/>
                <a:gd name="connsiteY3" fmla="*/ 0 h 257442"/>
                <a:gd name="connsiteX0" fmla="*/ 2805476 w 2805476"/>
                <a:gd name="connsiteY0" fmla="*/ 0 h 257442"/>
                <a:gd name="connsiteX1" fmla="*/ 2582440 w 2805476"/>
                <a:gd name="connsiteY1" fmla="*/ 257442 h 257442"/>
                <a:gd name="connsiteX2" fmla="*/ 1 w 2805476"/>
                <a:gd name="connsiteY2" fmla="*/ 257442 h 257442"/>
                <a:gd name="connsiteX3" fmla="*/ 0 w 2805476"/>
                <a:gd name="connsiteY3" fmla="*/ 0 h 257442"/>
                <a:gd name="connsiteX0" fmla="*/ 2805476 w 2805476"/>
                <a:gd name="connsiteY0" fmla="*/ 0 h 257442"/>
                <a:gd name="connsiteX1" fmla="*/ 2750754 w 2805476"/>
                <a:gd name="connsiteY1" fmla="*/ 257442 h 257442"/>
                <a:gd name="connsiteX2" fmla="*/ 1 w 2805476"/>
                <a:gd name="connsiteY2" fmla="*/ 257442 h 257442"/>
                <a:gd name="connsiteX3" fmla="*/ 0 w 2805476"/>
                <a:gd name="connsiteY3" fmla="*/ 0 h 257442"/>
                <a:gd name="connsiteX0" fmla="*/ 2805476 w 2805476"/>
                <a:gd name="connsiteY0" fmla="*/ 0 h 257442"/>
                <a:gd name="connsiteX1" fmla="*/ 2750754 w 2805476"/>
                <a:gd name="connsiteY1" fmla="*/ 257442 h 257442"/>
                <a:gd name="connsiteX2" fmla="*/ 0 w 2805476"/>
                <a:gd name="connsiteY2" fmla="*/ 257442 h 257442"/>
                <a:gd name="connsiteX3" fmla="*/ 0 w 2805476"/>
                <a:gd name="connsiteY3" fmla="*/ 0 h 257442"/>
                <a:gd name="connsiteX0" fmla="*/ 2805476 w 2805476"/>
                <a:gd name="connsiteY0" fmla="*/ 0 h 257442"/>
                <a:gd name="connsiteX1" fmla="*/ 2750754 w 2805476"/>
                <a:gd name="connsiteY1" fmla="*/ 257442 h 257442"/>
                <a:gd name="connsiteX2" fmla="*/ 0 w 2805476"/>
                <a:gd name="connsiteY2" fmla="*/ 257442 h 257442"/>
                <a:gd name="connsiteX3" fmla="*/ 0 w 2805476"/>
                <a:gd name="connsiteY3" fmla="*/ 0 h 257442"/>
                <a:gd name="connsiteX0" fmla="*/ 2973791 w 2973791"/>
                <a:gd name="connsiteY0" fmla="*/ 0 h 257442"/>
                <a:gd name="connsiteX1" fmla="*/ 2750754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2973791 w 2973791"/>
                <a:gd name="connsiteY0" fmla="*/ 0 h 257442"/>
                <a:gd name="connsiteX1" fmla="*/ 2919070 w 2973791"/>
                <a:gd name="connsiteY1" fmla="*/ 257442 h 257442"/>
                <a:gd name="connsiteX2" fmla="*/ 0 w 2973791"/>
                <a:gd name="connsiteY2" fmla="*/ 257442 h 257442"/>
                <a:gd name="connsiteX3" fmla="*/ 0 w 2973791"/>
                <a:gd name="connsiteY3" fmla="*/ 0 h 257442"/>
                <a:gd name="connsiteX0" fmla="*/ 3142106 w 3142106"/>
                <a:gd name="connsiteY0" fmla="*/ 0 h 257442"/>
                <a:gd name="connsiteX1" fmla="*/ 2919070 w 3142106"/>
                <a:gd name="connsiteY1" fmla="*/ 257442 h 257442"/>
                <a:gd name="connsiteX2" fmla="*/ 0 w 3142106"/>
                <a:gd name="connsiteY2" fmla="*/ 257442 h 257442"/>
                <a:gd name="connsiteX3" fmla="*/ 0 w 3142106"/>
                <a:gd name="connsiteY3" fmla="*/ 0 h 257442"/>
                <a:gd name="connsiteX0" fmla="*/ 3142106 w 3142106"/>
                <a:gd name="connsiteY0" fmla="*/ 0 h 257442"/>
                <a:gd name="connsiteX1" fmla="*/ 3087384 w 3142106"/>
                <a:gd name="connsiteY1" fmla="*/ 257442 h 257442"/>
                <a:gd name="connsiteX2" fmla="*/ 0 w 3142106"/>
                <a:gd name="connsiteY2" fmla="*/ 257442 h 257442"/>
                <a:gd name="connsiteX3" fmla="*/ 0 w 3142106"/>
                <a:gd name="connsiteY3" fmla="*/ 0 h 257442"/>
                <a:gd name="connsiteX0" fmla="*/ 3142107 w 3142107"/>
                <a:gd name="connsiteY0" fmla="*/ 0 h 257442"/>
                <a:gd name="connsiteX1" fmla="*/ 3087385 w 3142107"/>
                <a:gd name="connsiteY1" fmla="*/ 257442 h 257442"/>
                <a:gd name="connsiteX2" fmla="*/ 0 w 3142107"/>
                <a:gd name="connsiteY2" fmla="*/ 257442 h 257442"/>
                <a:gd name="connsiteX3" fmla="*/ 1 w 3142107"/>
                <a:gd name="connsiteY3" fmla="*/ 0 h 257442"/>
                <a:gd name="connsiteX0" fmla="*/ 3142107 w 3142107"/>
                <a:gd name="connsiteY0" fmla="*/ 0 h 257442"/>
                <a:gd name="connsiteX1" fmla="*/ 3087385 w 3142107"/>
                <a:gd name="connsiteY1" fmla="*/ 257442 h 257442"/>
                <a:gd name="connsiteX2" fmla="*/ 0 w 3142107"/>
                <a:gd name="connsiteY2" fmla="*/ 257442 h 257442"/>
                <a:gd name="connsiteX3" fmla="*/ 1 w 3142107"/>
                <a:gd name="connsiteY3" fmla="*/ 0 h 257442"/>
                <a:gd name="connsiteX0" fmla="*/ 3302407 w 3302407"/>
                <a:gd name="connsiteY0" fmla="*/ 0 h 257442"/>
                <a:gd name="connsiteX1" fmla="*/ 3087385 w 3302407"/>
                <a:gd name="connsiteY1" fmla="*/ 257442 h 257442"/>
                <a:gd name="connsiteX2" fmla="*/ 0 w 3302407"/>
                <a:gd name="connsiteY2" fmla="*/ 257442 h 257442"/>
                <a:gd name="connsiteX3" fmla="*/ 1 w 3302407"/>
                <a:gd name="connsiteY3" fmla="*/ 0 h 257442"/>
                <a:gd name="connsiteX0" fmla="*/ 3302407 w 3302407"/>
                <a:gd name="connsiteY0" fmla="*/ 0 h 257442"/>
                <a:gd name="connsiteX1" fmla="*/ 3247686 w 3302407"/>
                <a:gd name="connsiteY1" fmla="*/ 257442 h 257442"/>
                <a:gd name="connsiteX2" fmla="*/ 0 w 3302407"/>
                <a:gd name="connsiteY2" fmla="*/ 257442 h 257442"/>
                <a:gd name="connsiteX3" fmla="*/ 1 w 3302407"/>
                <a:gd name="connsiteY3" fmla="*/ 0 h 257442"/>
                <a:gd name="connsiteX0" fmla="*/ 3302406 w 3302406"/>
                <a:gd name="connsiteY0" fmla="*/ 0 h 257442"/>
                <a:gd name="connsiteX1" fmla="*/ 3247685 w 3302406"/>
                <a:gd name="connsiteY1" fmla="*/ 257442 h 257442"/>
                <a:gd name="connsiteX2" fmla="*/ 0 w 3302406"/>
                <a:gd name="connsiteY2" fmla="*/ 257442 h 257442"/>
                <a:gd name="connsiteX3" fmla="*/ 0 w 3302406"/>
                <a:gd name="connsiteY3" fmla="*/ 0 h 257442"/>
                <a:gd name="connsiteX0" fmla="*/ 3302407 w 3302407"/>
                <a:gd name="connsiteY0" fmla="*/ 0 h 257442"/>
                <a:gd name="connsiteX1" fmla="*/ 3247686 w 3302407"/>
                <a:gd name="connsiteY1" fmla="*/ 257442 h 257442"/>
                <a:gd name="connsiteX2" fmla="*/ 1 w 3302407"/>
                <a:gd name="connsiteY2" fmla="*/ 257442 h 257442"/>
                <a:gd name="connsiteX3" fmla="*/ 0 w 3302407"/>
                <a:gd name="connsiteY3" fmla="*/ 0 h 257442"/>
                <a:gd name="connsiteX0" fmla="*/ 3555681 w 3555681"/>
                <a:gd name="connsiteY0" fmla="*/ 0 h 257442"/>
                <a:gd name="connsiteX1" fmla="*/ 3247686 w 3555681"/>
                <a:gd name="connsiteY1" fmla="*/ 257442 h 257442"/>
                <a:gd name="connsiteX2" fmla="*/ 1 w 3555681"/>
                <a:gd name="connsiteY2" fmla="*/ 257442 h 257442"/>
                <a:gd name="connsiteX3" fmla="*/ 0 w 3555681"/>
                <a:gd name="connsiteY3" fmla="*/ 0 h 257442"/>
                <a:gd name="connsiteX0" fmla="*/ 3555681 w 3555681"/>
                <a:gd name="connsiteY0" fmla="*/ 0 h 257442"/>
                <a:gd name="connsiteX1" fmla="*/ 3500960 w 3555681"/>
                <a:gd name="connsiteY1" fmla="*/ 257442 h 257442"/>
                <a:gd name="connsiteX2" fmla="*/ 1 w 3555681"/>
                <a:gd name="connsiteY2" fmla="*/ 257442 h 257442"/>
                <a:gd name="connsiteX3" fmla="*/ 0 w 3555681"/>
                <a:gd name="connsiteY3" fmla="*/ 0 h 257442"/>
                <a:gd name="connsiteX0" fmla="*/ 3555681 w 3555681"/>
                <a:gd name="connsiteY0" fmla="*/ 0 h 257442"/>
                <a:gd name="connsiteX1" fmla="*/ 3500960 w 3555681"/>
                <a:gd name="connsiteY1" fmla="*/ 257442 h 257442"/>
                <a:gd name="connsiteX2" fmla="*/ 1 w 3555681"/>
                <a:gd name="connsiteY2" fmla="*/ 257442 h 257442"/>
                <a:gd name="connsiteX3" fmla="*/ 0 w 3555681"/>
                <a:gd name="connsiteY3" fmla="*/ 0 h 257442"/>
                <a:gd name="connsiteX0" fmla="*/ 3555680 w 3555680"/>
                <a:gd name="connsiteY0" fmla="*/ 0 h 257442"/>
                <a:gd name="connsiteX1" fmla="*/ 3500959 w 3555680"/>
                <a:gd name="connsiteY1" fmla="*/ 257442 h 257442"/>
                <a:gd name="connsiteX2" fmla="*/ 0 w 3555680"/>
                <a:gd name="connsiteY2" fmla="*/ 257442 h 257442"/>
                <a:gd name="connsiteX3" fmla="*/ 0 w 3555680"/>
                <a:gd name="connsiteY3" fmla="*/ 0 h 257442"/>
                <a:gd name="connsiteX0" fmla="*/ 3723995 w 3723995"/>
                <a:gd name="connsiteY0" fmla="*/ 0 h 257442"/>
                <a:gd name="connsiteX1" fmla="*/ 3500959 w 3723995"/>
                <a:gd name="connsiteY1" fmla="*/ 257442 h 257442"/>
                <a:gd name="connsiteX2" fmla="*/ 0 w 3723995"/>
                <a:gd name="connsiteY2" fmla="*/ 257442 h 257442"/>
                <a:gd name="connsiteX3" fmla="*/ 0 w 3723995"/>
                <a:gd name="connsiteY3" fmla="*/ 0 h 257442"/>
                <a:gd name="connsiteX0" fmla="*/ 3723995 w 3723995"/>
                <a:gd name="connsiteY0" fmla="*/ 0 h 257442"/>
                <a:gd name="connsiteX1" fmla="*/ 3669274 w 3723995"/>
                <a:gd name="connsiteY1" fmla="*/ 257442 h 257442"/>
                <a:gd name="connsiteX2" fmla="*/ 0 w 3723995"/>
                <a:gd name="connsiteY2" fmla="*/ 257442 h 257442"/>
                <a:gd name="connsiteX3" fmla="*/ 0 w 3723995"/>
                <a:gd name="connsiteY3" fmla="*/ 0 h 257442"/>
                <a:gd name="connsiteX0" fmla="*/ 3723996 w 3723996"/>
                <a:gd name="connsiteY0" fmla="*/ 0 h 257442"/>
                <a:gd name="connsiteX1" fmla="*/ 3669275 w 3723996"/>
                <a:gd name="connsiteY1" fmla="*/ 257442 h 257442"/>
                <a:gd name="connsiteX2" fmla="*/ 0 w 3723996"/>
                <a:gd name="connsiteY2" fmla="*/ 257442 h 257442"/>
                <a:gd name="connsiteX3" fmla="*/ 1 w 3723996"/>
                <a:gd name="connsiteY3" fmla="*/ 0 h 257442"/>
                <a:gd name="connsiteX0" fmla="*/ 3723996 w 3723996"/>
                <a:gd name="connsiteY0" fmla="*/ 0 h 257442"/>
                <a:gd name="connsiteX1" fmla="*/ 3669275 w 3723996"/>
                <a:gd name="connsiteY1" fmla="*/ 257442 h 257442"/>
                <a:gd name="connsiteX2" fmla="*/ 0 w 3723996"/>
                <a:gd name="connsiteY2" fmla="*/ 257442 h 257442"/>
                <a:gd name="connsiteX3" fmla="*/ 0 w 3723996"/>
                <a:gd name="connsiteY3" fmla="*/ 0 h 257442"/>
                <a:gd name="connsiteX0" fmla="*/ 3901929 w 3901929"/>
                <a:gd name="connsiteY0" fmla="*/ 0 h 257442"/>
                <a:gd name="connsiteX1" fmla="*/ 3669275 w 3901929"/>
                <a:gd name="connsiteY1" fmla="*/ 257442 h 257442"/>
                <a:gd name="connsiteX2" fmla="*/ 0 w 3901929"/>
                <a:gd name="connsiteY2" fmla="*/ 257442 h 257442"/>
                <a:gd name="connsiteX3" fmla="*/ 0 w 3901929"/>
                <a:gd name="connsiteY3" fmla="*/ 0 h 257442"/>
                <a:gd name="connsiteX0" fmla="*/ 3901929 w 3901929"/>
                <a:gd name="connsiteY0" fmla="*/ 0 h 257442"/>
                <a:gd name="connsiteX1" fmla="*/ 3847208 w 3901929"/>
                <a:gd name="connsiteY1" fmla="*/ 257442 h 257442"/>
                <a:gd name="connsiteX2" fmla="*/ 0 w 3901929"/>
                <a:gd name="connsiteY2" fmla="*/ 257442 h 257442"/>
                <a:gd name="connsiteX3" fmla="*/ 0 w 3901929"/>
                <a:gd name="connsiteY3" fmla="*/ 0 h 257442"/>
                <a:gd name="connsiteX0" fmla="*/ 3901929 w 3901929"/>
                <a:gd name="connsiteY0" fmla="*/ 0 h 257442"/>
                <a:gd name="connsiteX1" fmla="*/ 3847208 w 3901929"/>
                <a:gd name="connsiteY1" fmla="*/ 257442 h 257442"/>
                <a:gd name="connsiteX2" fmla="*/ 0 w 3901929"/>
                <a:gd name="connsiteY2" fmla="*/ 257442 h 257442"/>
                <a:gd name="connsiteX3" fmla="*/ 0 w 3901929"/>
                <a:gd name="connsiteY3" fmla="*/ 0 h 257442"/>
                <a:gd name="connsiteX0" fmla="*/ 3901929 w 3901929"/>
                <a:gd name="connsiteY0" fmla="*/ 0 h 257442"/>
                <a:gd name="connsiteX1" fmla="*/ 3847208 w 3901929"/>
                <a:gd name="connsiteY1" fmla="*/ 257442 h 257442"/>
                <a:gd name="connsiteX2" fmla="*/ 0 w 3901929"/>
                <a:gd name="connsiteY2" fmla="*/ 257442 h 257442"/>
                <a:gd name="connsiteX3" fmla="*/ 0 w 390192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01929" h="257442">
                  <a:moveTo>
                    <a:pt x="3901929" y="0"/>
                  </a:moveTo>
                  <a:lnTo>
                    <a:pt x="3847208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9" name="btfpRunningAgenda1LevelTextLeft188110">
              <a:extLst>
                <a:ext uri="{FF2B5EF4-FFF2-40B4-BE49-F238E27FC236}">
                  <a16:creationId xmlns:a16="http://schemas.microsoft.com/office/drawing/2014/main" id="{D46D3DA6-D97C-B31B-9953-52D8FD435FB3}"/>
                </a:ext>
              </a:extLst>
            </p:cNvPr>
            <p:cNvSpPr txBox="1"/>
            <p:nvPr/>
          </p:nvSpPr>
          <p:spPr bwMode="gray">
            <a:xfrm>
              <a:off x="0" y="876300"/>
              <a:ext cx="384720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Influencer marketing</a:t>
              </a: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F09B8D5B-105E-1754-CA15-4C45B71A30C5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44428"/>
            <a:ext cx="258172" cy="257443"/>
          </a:xfrm>
          <a:prstGeom prst="rect">
            <a:avLst/>
          </a:prstGeom>
        </p:spPr>
      </p:pic>
      <p:grpSp>
        <p:nvGrpSpPr>
          <p:cNvPr id="26" name="btfpColumnHeaderBox916647">
            <a:extLst>
              <a:ext uri="{FF2B5EF4-FFF2-40B4-BE49-F238E27FC236}">
                <a16:creationId xmlns:a16="http://schemas.microsoft.com/office/drawing/2014/main" id="{50CD5D37-7980-D103-28A9-9E4164B95248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8378296" y="1604060"/>
            <a:ext cx="3483504" cy="257441"/>
            <a:chOff x="8378296" y="1322005"/>
            <a:chExt cx="3483504" cy="257441"/>
          </a:xfrm>
        </p:grpSpPr>
        <p:sp>
          <p:nvSpPr>
            <p:cNvPr id="24" name="btfpColumnHeaderBoxText916647">
              <a:extLst>
                <a:ext uri="{FF2B5EF4-FFF2-40B4-BE49-F238E27FC236}">
                  <a16:creationId xmlns:a16="http://schemas.microsoft.com/office/drawing/2014/main" id="{B4F6BEEF-DEAE-39A7-D1D4-F76FF0443E1E}"/>
                </a:ext>
              </a:extLst>
            </p:cNvPr>
            <p:cNvSpPr txBox="1"/>
            <p:nvPr/>
          </p:nvSpPr>
          <p:spPr bwMode="gray">
            <a:xfrm>
              <a:off x="8378296" y="1322005"/>
              <a:ext cx="3483504" cy="2549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>
                  <a:solidFill>
                    <a:srgbClr val="000000"/>
                  </a:solidFill>
                </a:rPr>
                <a:t>Similar audience demographics across brands</a:t>
              </a:r>
            </a:p>
          </p:txBody>
        </p:sp>
        <p:cxnSp>
          <p:nvCxnSpPr>
            <p:cNvPr id="25" name="btfpColumnHeaderBoxLine916647">
              <a:extLst>
                <a:ext uri="{FF2B5EF4-FFF2-40B4-BE49-F238E27FC236}">
                  <a16:creationId xmlns:a16="http://schemas.microsoft.com/office/drawing/2014/main" id="{85BAA74F-4D54-D266-D0E9-AB88CB7E9123}"/>
                </a:ext>
              </a:extLst>
            </p:cNvPr>
            <p:cNvCxnSpPr/>
            <p:nvPr/>
          </p:nvCxnSpPr>
          <p:spPr bwMode="gray">
            <a:xfrm>
              <a:off x="8378296" y="1579446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btfpColumnHeaderBox710573">
            <a:extLst>
              <a:ext uri="{FF2B5EF4-FFF2-40B4-BE49-F238E27FC236}">
                <a16:creationId xmlns:a16="http://schemas.microsoft.com/office/drawing/2014/main" id="{2BCD7B2E-3A1C-06F8-A110-2DD4401AA5D8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4344915" y="1259994"/>
            <a:ext cx="3483505" cy="620713"/>
            <a:chOff x="4354248" y="938765"/>
            <a:chExt cx="3483505" cy="620713"/>
          </a:xfrm>
        </p:grpSpPr>
        <p:sp>
          <p:nvSpPr>
            <p:cNvPr id="72" name="btfpColumnHeaderBoxText710573">
              <a:extLst>
                <a:ext uri="{FF2B5EF4-FFF2-40B4-BE49-F238E27FC236}">
                  <a16:creationId xmlns:a16="http://schemas.microsoft.com/office/drawing/2014/main" id="{C205B097-256C-9026-9E50-CFFED47CAB8F}"/>
                </a:ext>
              </a:extLst>
            </p:cNvPr>
            <p:cNvSpPr txBox="1"/>
            <p:nvPr/>
          </p:nvSpPr>
          <p:spPr bwMode="gray">
            <a:xfrm>
              <a:off x="4354248" y="938765"/>
              <a:ext cx="3483504" cy="6207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dirty="0">
                  <a:solidFill>
                    <a:srgbClr val="000000"/>
                  </a:solidFill>
                </a:rPr>
                <a:t>Target’s influencer tiers’ split closely mirrors that of Peer 3 with ~45% Nano influencers, followed by 28% Micro &amp; 20% Mid</a:t>
              </a:r>
            </a:p>
          </p:txBody>
        </p:sp>
        <p:cxnSp>
          <p:nvCxnSpPr>
            <p:cNvPr id="73" name="btfpColumnHeaderBoxLine710573">
              <a:extLst>
                <a:ext uri="{FF2B5EF4-FFF2-40B4-BE49-F238E27FC236}">
                  <a16:creationId xmlns:a16="http://schemas.microsoft.com/office/drawing/2014/main" id="{367744A2-4E8E-2CBB-6C8F-D01BBFD8BDAD}"/>
                </a:ext>
              </a:extLst>
            </p:cNvPr>
            <p:cNvCxnSpPr/>
            <p:nvPr/>
          </p:nvCxnSpPr>
          <p:spPr bwMode="gray">
            <a:xfrm>
              <a:off x="4354248" y="1559478"/>
              <a:ext cx="348350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7" name="btfpColumnHeaderBox275035">
            <a:extLst>
              <a:ext uri="{FF2B5EF4-FFF2-40B4-BE49-F238E27FC236}">
                <a16:creationId xmlns:a16="http://schemas.microsoft.com/office/drawing/2014/main" id="{638D4635-33DE-8409-BFA2-28253B86F5A8}"/>
              </a:ext>
            </a:extLst>
          </p:cNvPr>
          <p:cNvGrpSpPr/>
          <p:nvPr>
            <p:custDataLst>
              <p:tags r:id="rId14"/>
            </p:custDataLst>
          </p:nvPr>
        </p:nvGrpSpPr>
        <p:grpSpPr>
          <a:xfrm>
            <a:off x="330200" y="1251880"/>
            <a:ext cx="3483504" cy="620713"/>
            <a:chOff x="330200" y="849651"/>
            <a:chExt cx="3483504" cy="1178799"/>
          </a:xfrm>
        </p:grpSpPr>
        <p:sp>
          <p:nvSpPr>
            <p:cNvPr id="75" name="btfpColumnHeaderBoxText275035">
              <a:extLst>
                <a:ext uri="{FF2B5EF4-FFF2-40B4-BE49-F238E27FC236}">
                  <a16:creationId xmlns:a16="http://schemas.microsoft.com/office/drawing/2014/main" id="{BC87B178-89BD-8624-E954-E569D9D524A2}"/>
                </a:ext>
              </a:extLst>
            </p:cNvPr>
            <p:cNvSpPr txBox="1"/>
            <p:nvPr/>
          </p:nvSpPr>
          <p:spPr bwMode="gray">
            <a:xfrm>
              <a:off x="330200" y="849651"/>
              <a:ext cx="3483504" cy="117879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dirty="0">
                  <a:solidFill>
                    <a:srgbClr val="000000"/>
                  </a:solidFill>
                </a:rPr>
                <a:t>Cumulatively, &gt;60% of Target’s influencers post ‘lifestyle,’ ‘outfits,’ ‘family,’ and ‘beauty’ oriented content</a:t>
              </a:r>
            </a:p>
          </p:txBody>
        </p:sp>
        <p:cxnSp>
          <p:nvCxnSpPr>
            <p:cNvPr id="76" name="btfpColumnHeaderBoxLine275035">
              <a:extLst>
                <a:ext uri="{FF2B5EF4-FFF2-40B4-BE49-F238E27FC236}">
                  <a16:creationId xmlns:a16="http://schemas.microsoft.com/office/drawing/2014/main" id="{CAC3076C-BC33-4682-6BAF-BAC81AB16BA4}"/>
                </a:ext>
              </a:extLst>
            </p:cNvPr>
            <p:cNvCxnSpPr/>
            <p:nvPr/>
          </p:nvCxnSpPr>
          <p:spPr bwMode="gray">
            <a:xfrm>
              <a:off x="330200" y="2028450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444902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OFFICE" val="Warsaw SSC"/>
  <p:tag name="MEKKOFORMATS" val="&lt;MekkoFormats&gt;&lt;NumberFormat DecimalSeparator=&quot;,&quot; ThousandSeparator=&quot;.&quot; NegativeNumberFormat=&quot;1&quot; /&gt;&lt;DateFormat CultureID=&quot;1033&quot; FormatString=&quot;M/d/yyyy&quot; /&gt;&lt;Font&gt;&lt;Output_Font_Name Default=&quot;Arial&quot; UsePPTTheme=&quot;True&quot; /&gt;&lt;/Font&gt;&lt;/MekkoFormats&gt;"/>
  <p:tag name="BTFPCOLUMNGUIDE" val="Clien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qFHiboAhnyFYO40OgDW9etHQ3Sy44XTVMcMC1tL7LmNH8lNkbB1Jw9nduKjj94yZw/Me2WqwClzThRPxzPfb7U0Ezc6ymFC3HIdD5tkg+WW9oEick+8eg79QfTstLkDjf+LQpZOqkzUiu94IsCbVXr5OpmnuG2y/lFonp6vSXkY7I9Qlrq6INlq4OY8/f79GtyG69vBipcHf6bM78PGESgxtO49+cRo/A70kPl70xje2NpZOIjYoWDaNFHwN5TcsPiKMFKJ0OfKxnS1LLuRDXazaBZJ2DSbaN8/+dRzGzvSbQE5SLA/oKMr+DTK/tI2JuFNoNs7kBIAznVaCy99hCxatAhNo1/60Smw0aTtAiWhZMXC4UH8aWBXiZNIms4i5iH363SnPIAZWkb/1/PDcp+iqt+i3dmbzoCPfoNUSRrSEyCgSdU11Vlh554DajhanqCX3I2O93M7DaM8AsbQIBY5v7HnC5q+3Rw+Qqx8lEbzAwKZUGC75DnC0XzIdrFDzR+rCe79DvSvSxCztZ0lDpSsgMvRPtu1W+xdS5oCRmcWJpIomue844qUoAfK0yZxrr1rYGUSFIJ6x5HAfm6R+TtJ2PoxuP1VFslHWyKWt451IEmOHv6V5FJaBMfVLjhRN6Q8RgR/nSAAyt0nCWnCtENboEu9I0a8kBtI6OpD5zGfWELsTNLyqeEUoSy5KLg/l+hcXPHHF6mFgWJKjrjWemPTbQyxof/AcxXbDHXgDK/9TobRAueyAHOyYhnwSStyKUGE/03NBT9a1xjsc7VRZZPt+wK2+WCTaZXHvseXFz3ouykShi1MDzR0hcNLM3JfGSbAuN6QLJUNJ8r4b3E9gZ+pw6ufK5AbaSXVgc/vKnvS+2jw0ym7Hm6OKr4dhZQ9Op2juxzVBzPhxBnm2Wa+saEOWOk8YPjAGR8VH69pnXgGpPhhK0iuosfkB5zTC7B19G9CMsa5vqzVNqpLU44tUuY23NGEgmsAhGcWDVrLHOqAFsUClJnGU45ymF0seQt0v8i0eVGGxK6dauHOWmZwf431b5n+q6N8Y636UdXNdy43JcFceKyDxNEKGHVM0rN8XdHF930BbiXhxQcPHkcpFsE0IMQvH2NVVgU6zgRKX3BZ0ZwEwOesjKPB0/QETFU9IMye78bNfmwWjJTgEf61XjjjJCqesfyBj8yrm1UsIRba/Jta0tK/OvzN8Z2FidzR95IXW1faGYJ+pzffdSdA90y1ebf5pJD5qN3kN+kperb7DuhT2DkjiExyRUt3ykO1QiGglmJ8wvlhCFGT7tTEvymmgoZyK9r6V5JAEgmCdPor3OW9Di/Ec62wXWoX1AjK3DM3XBjoFFxNcNxITkcijklJElOPE5kvXGQ+Bbf+gotCFIwQxOdqt1QzzTSXo8sh7ufkYRYfF4AplOLNA39CvftEwU6hJQoHnUewhx7/DIkoIdVsEulHJrgSdWjgNf0Qqdj07vvbHjf/7ts1LYEKMuMtSPgyREVatYaribvPuRmfer+ukN9Yv17KiYZLIWAoe57vxGXpdeMDX8/Dn4Oob1qCNGt7NIERXJHRf0Aiqx1SiPD9hNgbAcO5inxwCPcqBLooQWCejUAPGNLxZ6JMdJbOKjplsYmr6/ePGsb19hUvg4PuDo1TfkQk5o5Avw9FknlYT2b2IMS0WO/59sQIzg1NwihsJT2KYO7gUywfJJM7hElC3iPgoPU6Up6JF+2XesqhjyhPFLAoVv0+V6J4jKbc0y22nt18Mj6q0JnLs/7CAdPSGxvTVxFDohntYhx6rZwTVnn93YIfRTE2mvIyfamVTP/oxrYdsmEzOSA2h/VlELf7+PxTCBNMpTjAU0QIMjRzMeqIUJBncWjTJBBqbXRCbk43EVFUDU4ax/gc0zoVdkDKn2CGfWByZ3X/bgXawtCC0otiCTpkxNvdRzNY7H6z6NRFi/Q9NvQYhaQDEeys/1AY5YQS9ErmfRyH76mIVRUuYQ/myblS6v4/cCFrrCQTutpoDcqFory76D+0DoGZvZ/1NdMmRU1064g9gDTjx9l8geW9ceWwgwLW5thG4YLFkkAYlOKIq4w47kghiDhz7TMU/uQNBEFBP+0vegEbDGjF/0MIjTabKiTR8Wut0d5OeeLeut2UtQyhzPNZJ7VnE+zS/baEZ0voDxXapur2/5+6x9Rq3VxVFrny3Lq1E5nn7RW2nr4iSxa0meldt5h+mGEams9uJICGRMgp0mhMXRhlfKoeStMaVnlwxSqMcJ/HUwClPwSAnmzA32Q/VQsUF4VG31BjlCkc3PdTCKmT3sfJCdsiU8gb/b1I787ZAmlf+USPS5SKT6pL9d7W9PVQWZh3VGfq7oyEoLpoNCCzChZ3NCJgrDv/NoXE8wWgCa65DsXVHbO/TlwhpPYDEthS8DHrEZ4MviBB/fN6tqQS/X4JW7AtQVQEwEmEufp7XH29qhsmfpwCJX6pwE89N8g/77owrcnY7MxAq/A8MBXU+HRz0fcrV25y20EVhr3UhsU0AHiDK37z/2+QELH5qmYjhOSFZ1LcfCJlu9WMKrr4hpiRY3EAMDQdxvWjqOZ48nknfb5kKNITxR9pY+J7d1p3nXl23dRIdH22tQkoi1iCt1IzsVhJn1FRSUwm1PHJHjmdT8B/NRgG2iJOa1JG4ZVlWf+zdiT9wigv8pTIMcDPgzU137n28QvHMqBfy0dV8uEnkx6bbddM5611KSVKk0xiELNm2yO5g7RWsECYu6LsCdKhA17JgSseJH0ZcxmLoBgcPMS3eRXqf2GHLo6RCt/x2a6V8BCRBv3vfMfUIPDwZmcG5PjgSYR5kz3e8JKgPmG0cQT9me7X2WN92LkrO5KWYQ1JpawKck6Fw2tDl4ppWTY9eUoQdDxVOg62njJWk5hRNxcSg7KjaE9iZ+LwjB7GJNsXhKHKIBqheOhmhOw+wyAovaOQoG42jPrr5pUcVM6lFZLUT5hJeLyxICXxkZ/AU+/QgvmYDvRsV0ZkhqHDpg0CP54/58GUZmY+5g4M8hOvdtV8W8qGK61kIrvEgIWFxd0g6w31PKyQvy3lskjevRHLBOR7nZbIx17NzC1alf2/QC2cgnRkxrXZHPgYgqEC0f1U8L6AYDyNz29jB5eXK7k0vN7j5f8BkfD1nWi0dK5V33OhCJWmzi+prI2O/O8j2aXPh6hhbHuermPuBrRF4nOGn2poXAzuvvVzrptes00HN1Z8FwQ43FXr9VPE6S/XJqIiuSlYt/RfOC+oKz5lOfxzYz/6YrlShmyd8h6/MHEaZZFeqj+fElc9/xvhdk6CYdopC9gj11iq/ke3HOnm7D8SUnNCIoiWh7CxPWoMd1Kpl0y2V2W+6yvIdJbBE1xP4Y8yOcKvXef7yPwe8ldilCF/hCOVO0SwqlcSL0JsiozrhWu3+MQS1TJlAUTMbSYb3mIkUUM31Ni21hX5VcfbLh+D0H0MgEvXdhuk/gB4OU0lpHHnFqUOoRxj6WfPL7y8BvB6kSa8yidK/HC2MO1hFSUMWNbs9T/FWFOUpL11Wl9c7O8A8lDK00zJqM5PZQEo+G1k5VVua3Mc8cXIYVwEGfLNV2tpJVoWbMbe1FUiuM3XNRZrhQnuh7zu143MG/P8rFq8dEkUZ6Z9HIkJp/EeWeSltWv9WsGM24qhGVlcIfHzSix8O1vvNpYnaGHA9MIxl8x/JC+KlFEiLoXtN/1fmser2gnv9+7cJ8MQdH3yPuw3uWajvGVOBimUflSpQqbUcEN3QeRrLoYkyLS9gasXhEJso5rM09gxLz7koIUY7oEB19AXJk01RBzJTjiu3wF5xp5BznytJCd1IDSrx04C8wSILovxRKxHrYxWie1nwHIkUksoncWPJeuX048CWMUGxKfGivGKK7fNSTHxizIrQGyUXD4yX//9ki1Heq29uUTkZKZmDwIVAaOm+344L8KsQwKWY7s3E+v5xNOPQxItN+iLu8jsb0SqkY1Bx3TWdIokJ9ZdoiCTaUTZJecCADj6lHu2sFJySQBxnCI5K4UEc6UV7LDPwgbtk1XCWQFnPaxzxxvjpj+pwYBX09nCrG+ZlYDGrpkXOkWPNPXH4X3YmLSeuRzopwWNdf2ijuF3STO7os/Gvs5b11yzoUaRPcrB6ZuvHuydkiQAtpFVJTDbVTvvL31srPpTIFe4m1BpuFbJBbRJg6RpM3JVYEBBrqBCH1PxRlLGN8bKdiRIIXJP7Ip2HWv694H882I1aGQR9yJNp5dwJX+b3QqotvUVZNFoZ/rMuWwcGLPJOxVVbialbu3srFMyXOl6Ts7XtXGbhPZMDJjNY4lR3UqoKEJdgnTegKTc17vaAQMMPGaJg8AdbPkn0rnajHQ83boj6+e2tdr4BRRHSh7GCgi5Rg9nV9GHdAKrNbu1geRo8c8kCksOY7iClhIZfqrm+JFr9iVO7L5TQCKZCopqXd8nw62XiY2F7aFdbj8cF+aLAs3cPrRcNMTANSWRkpIN1hj6GwVA7ntsilc+p31BMwr5BllujZ1oNjYFPTaNbiQbYaDqsTdU0XTdQ9cVBgtWkQUMGyrRD4k9z+adi0sGOFRUc3CZPBWONNjTCr1mXjVCzzNwLR/fRoRCkx2ww6RKOmeSoj+3krUquUh3Tnufw3TzVVr9Ehbj4dvGwdXY8qvP6IoXGNox18ekTk4Lc6SeojmcPHgu67ab4vtNbbma1BrAQSVOPPzrzwp3rXkkI8tlCX4M5aqgbyCM5qyTa/xnQtyvn+b4+HCNOQkpyr6+GDNwxaqF0PdCjUU1ecbj/D8/2OPWTVXURhvBjDBVzMoNDcERAsZVFCVMzzZpaVn5+U1h/g40zKodcPuUTFHNA7e0NQi7q8hgSz9+pnVTMFQKRB7cnYRHvCYz1btO/xDC9c1GwdP/mNN/qxaGySnQIJfTPqx3i1ufUdIhfceqxMEr1btKwJzqUtGtEqJyM7oMIPpJZYgiJzgm+obwv/+g0uIMrEl6OLb/Ms+urZDS5+oLNjesKXnEO9pgyqW3p5cHZjH6omioTXIEU3E6HmGPX0/YEalQrhHS8/W4QG4pDH4EAXb45tJQemmd8WF0cdjjwhIwol6r1PzBYyl7jA1A8PHAFRuJIqpfgim7yjK4FiyLZVX8pOmuzabLkHoFOBLvYtEwQthzWvqaYnj/nnetluGNcSRXQhk2N8IA3v1LxCUGDmUNjYcMz2vHgOk8s+Ba8xvnWM/P24NX7HB9ZEvVpZdDJC1MPkY87nICxAtMDAGhrWbBceZPoAoW96f5taBcNyJQ6l1O1Zn6f8+l5tFD6JzGVLcTaHUeX09zxACO54TierwVpzg3QgybPU9kdD5slCCaSead+7s30X1BnYikbFbhuyW3rh2q+d+WeOtUblpCyieqlIqxKnvge8EqM2XtCXxxWbPCQVLDjSilEwOJ5S5kxSFSmBpQch/IWpVKx7UHflBY2Ie9di5P2kCLKm7Vt31kbfYpl0s8wMuluDv3BeFA3gRqmwPpkUnw3W7F5iKnop3GMXF4ZAEpg0syaIJmiY1R7CZfLn/HmI8SeEdC5WfqXMUf957+iBKw/dxcpzzguPbR/S0pCBMu6btiDr+pqq4JaZ1Jp+4iOpTvEocdlPHriIh6ZL3LUR2hpUWVniDygDrSdFZ8Gn+z21AMpU9LL+NJM8DC6foL8EYjI73obZ8GSqHX5XOCMlNw2/MIw/D8Kuny7w//nzAgSHPsUp3rr7+TWmFmumKss15X+BatlyeLBauHXx2XAhqpBxlHyai0WFRSKwJlv17Lv6CfLvfn2CSObKGuWvtxijr+cVhdKibiYS9ytO+8O1Vwg+f728NQPbjWHkKNEICj+TeZIE3k/IGS0fh5CIKDq0oUcWOfQBQ0qP50kkDhRihWxdZ7AiCU7hnHySBnFWgJI7PtCrruaOis+dctxcU86VDTbnSa2vUNNiuxzPb6sYzYgoBtM+EZqDc4+pSY7rMUMKkTj22/CNMz029Xg2+AXMEANYNWngIGHJXpmrh4aovnAgIFqzBZ9U76RrCR/R4BfUTnQVPliL4dC3d4zwLOiRqFRrG3ttdJV8CYCNL3LYqog8wC4hrdV6Xd9DaudFIbn3IKFU7x5K7/2HtFaOlv90M7OkZrolfdkc0ezLWh1JeW/JUBv9b8zWZ6p92wS0Zu3FlvP2rYW8PawqCW6JlyLTB1IUeED1lddUVFpEPwgz+WEUFSfXteabKF4EXk8A7twqohoNasg1CGjhCpfXegcNNdQMKUlprsQwVPrwhpaQnO9nvGDrNYHoLWCaCDK2LX7z3XlG0pWiYlP1TZ4z7W8Xj1LrX9HiNIQvIBWfgSJoqByrQcJ0JR9GzLHhbkqQF8n7GDzwX8NpuINPfmXredgr6PHZ87Pgh3sVxFDDk67WcPpQEluXuhdjnnvaMiCb2Q0EwX9RkHu84n5LuYLdclMGh14tqF9lWfYSQHx0IPQZcKvVbsGJezakzOdmtcyWPNnf9Kq81nb6W6ZKd4L3j6e6mxYT2Fpv/9RSuFdcstNz/dwF8BKztM6JPlWAf/Ps74GRw/qG1SQToYwrvFM1S5s6vDPRJSwUM+pzo4/X0RRv0jHcuulv9LIz4/mBkQG3HvSivhNCNxK2d5T+d656T6PoDm3/FCBHp7AyHZlL0+oZnPRGKCa2pCgu5pQjsHRuHKtRHKq9k7vKj0KMcVRwWmxVklp4mIjZHEnrY+8Mwzw815uLrhSd1ZMMSElwKnh6VHh9ETsBkkWoRKYZY3at06umZr0nSifxLSUniZSdQlqeaMLwOEA+KH06W3RsGNq6xkdiz99amdKt73q539b1ciQReTOyBnoAH84ufCj5Q8mXJ6bi2ty+Cj7jR+HRa0enz3TdswG/q4xnJzPlG0ZwT33aJFFavx01RYLmId4MEGm4N8WgAjux0qb/HNXew1lCsqL+wB+zGwAxX918Fc6f2kWBFL6vIFl6iWASFwJStluTUoeI7V1iZNmqk10pjV9GBVB+8F9wE4Zr7bqjekkpdHhtYR2o+uHQYika2WJMSer7SHPvoflcZ4lO0ovTLd49623XRyaYZ31GDM2xRTQsRr21JFT51syN9gkKR+ufHPEDY5D6vWZtpHK+UX7XdcPS0QW/4L5ypRL9Jv5OgSbw5RtyVpr2JZNNcpLfW6/gpCED1KmY8HZAhIOAFOuza2h4AA6mD1btVfWWwJneiD+Mt+BktNkyagGSQXTzd+6OpdpSJSP/yRDJYcoCOaozpImbtmKHtkDN7+uAyibpYLFYeXevquAqq6wzs2ztpxWWorGO+pgET6aIuwZ8OMDFnzsYH5zag3vrJExxKVELcQuJ6irUgvOystIKmX1oacwNiE7EFGLg1olYB6XNzurI61Wby7HcjXa5wtjWeKFqCBooJ86oo70IKXNBm23LzKXPNb3MXYbbpyftT8gDjUfUZ9fkyYsvhmcru5kdC2z9fTZhaBnrc3lV0Gu8bWoIPxn3jMr1FDBUbhMp5PHs/h1l5gX5nrr6l3//3ms2Q8VyM4rU4IxPvMOQdPSZsnz996oWIYnTRHBwA4UJHIckeJDtL7XBShzePqeY3X+aM9e2jYy9JioMqCALBamNld7FGFeLO5hpZOWNxdOBRWWAFBG+A0NstRDtZIERKrY+9t4QQs38PnM/egtJDnO0ie4BJ54oVZuwFyHBMIWtRDuy1vtySfbi/3+aHe5ePlU87pRcX4d4ASeEg+NNTtTbfc4bcqGVG93qEHAZ9GaveKI+4hZnazzCJokTxZPyvcst1nsp8SSTlPeaSO7gx56mLQfQr7InRMivjVGplxO89jaMpXPYOxm2KszlkXWOBIoxHMhHT6E/t7H1pQ7QAiXjIbMF1BZU8QDsjK0ij3C5SuV5nQvPeCuKVFzP9iexjulkO70mL1e57lpkDAqQAkCtNxwlhyl1QcRooV5KLTm1BlVuvwJdDsIwoYtU23LUGewTeSG+K5z78a0POdPu8PNJroPMM6EtfWEkqt30tK21GPLtDr0ipU2aq25nEWp5PAd7DkvR0QCxeohfdhjGh1WsjERmE8wORacj/7bFaAy1NrXl3rVUA5cFlit4BOwGDMg+IH8cwFRYCIX86zKOol5uJ1xG4eEOq3Ur3cwxFLHGxbJzFvgGDLnzhuw45dY/2Jp1EK/jcYVZyHKgCGKPZ6D+OfIgpl2yVDKu/dFvCAnBcTi27PNWp4Ng73ukyreb+zz1kS4Ef31VLsGqIpxsgw5kjzCgv3XFXPKkG7KM8heJmFGtYyGucbgTvC6ddlqyaalRNEntCfPGYI7k1rws1xx1HhBHitP6ISvVYMR1P7p1w2xud9D7VDbAtULDjvC1c71QNCRwO1TPeIoMeTHOaqgXzBSs3ZiHmWK8xdkGFTsz86K+ALSNK1VJFrXC2cJV36XAMLCksxdRVqMDKlwEdWu/Di0gd9+MEbhr/7ugqqKSs/UVV9Gv2kbGALDi8AFvGMURBEQEgzPkMwBb2VIo+fLOYgeoI5dyhhBVQXTeGO0sgTTWh9hWwYyfF0VkU+tGbxTDcMFBocedvhgH/RSsubL4wKjbcN34NGp40CilfsULmzoyZWFTs4pXZuw93QI3CP4kdwxeGfWKDq7JVGXaVWnoyoV1glHxYNUyIyVsxyW/5xIoy1otn9g5U9rDOU3KFlvSoNM66srtr0Y0qhUZqaowue3pQcmllO4Ji7M3dZiUBAFYT4U+f4lnnk4qJsRawg9BfpzqV6ESyMDiyoPRxF8nbF1JrauaI4NpX4FGHEw/vaF/9smQfCYp0YB5DNaqapQlrV5o2NgPXU9CLLcOBBN6LwrRF1SeZe36c/rezbXQ2OaV/MZYWWufiShqjtaMdpugK+AN3fdRN+W5Gwa/jWtOHDNuRX2jgp89XbPHMDEk7MtXNILvJyXcAKTZH9xd3XJBm8YGpTQyB3NDZer59QDAK2pYehfWF7/SYh+H9aA1rju29DiVBXQVMZg1EspKq9uI9jm4mzIgliEj7n1y8kloPMzbGVc1ahd+wcqqkPbdSWhwA2bgZc69c4we8/z/op2DSy/pwagDayDPjxkaoRXjBR648n7s3SZxCvWJvDjd3x6c78PMIlh7EzQhYDtsadK7hWpR3QKb3pw7FF+Kqledt61FQgGEaevDHTazvAYI1zgf6/aasTrf2fuZDG3+KOSjBiiadoJsB7VdmdML4GzFaHH8D7pWAIbv2wrZJpumqOb5fYdQ+RMqmG6fv+Dnj+yAwpsCWt4MUM6rH4p3UVKdxdoyc0OHeKP4Z0+JW23EQ3YxmisnQJZSuNjhY8GcOpU4CSOojpEGA83rsEO+h/oJ4WKnzHVkaEnIud4IL2j+NEU7Qk06kbon8otLaUM8yRVINXQMlKhxj/RGTXiE2vOqIEqu+T+Wrh06BXmYudUyFTNRJYqzpEtzLvLBBfMC1SmJeOeh3wV+yK4qLgFBjMYJcSipANR+XninS1LoS9d1c24WcoCTLozs9BTIWExHRShtkXFcBsc3WCQlB4r6M52o1zIWy7WTYM3kSPNuE5NvDpyySsknTB/m4weJlJHcE6KQseMP6v/ZniWjr0KKpjW96kDZEJGWC1fDHT6m2mR1ukVzH3tJUvmdY70sb8a4TF2y8OvAyufphNxSo9NxR0Bw53GZiED9D8IzegnNsTSasKp4gEYHkgSrcX9/+OXIfM7LZhemKcLL2U1qnObzdt6KRduk9CT7JDsQ9PF31MolQvsqOBoND1io/YpX1SVmapeXqHv78PtGdKE1dQlCBYevNd3Ibc56wuiJvGUEgfX1R2BiMWH4OpNoWWCznA00PX1kDUc5YqjVjabMS624YRg+0129gncRPZoQg5Jw+Cu6geSI6u4j+8aVWglHh8u7vlZFGS2HbvYh5YvakydlA4JTlhIvnc8+vVVxRP/y8H+VF6t4lRVUubrcBKxWqG0N1gk+BUEzw6Ixv7H+FgNOPXpFYvkq7UmpmEwuI7qS/F1yuQuYUFAvMzwKVDYDc3FD7OBNuVDF+FV1OpDcORr0/cz5vcZ0jwgiaZJUZnOw+lmdvKLrwPp2zhmmyK+T08uBamkMWxFwZQFg0mYVDFaNOzBxT6vLjvhwD5DzDmj/zRBT5FVw3MxNCRwfQXJb34Sk6giT+zByB/CrdLWyN/wEo1sAAGRAqyEPaQyHz/6sWQ4oj7OVJqtafwSK216TwLw067U3Z/zH9dBN9ecFxFpOK8q//5LZ0kvwTX2iHR/35YHkf+hQ5FvallqckZ2LgQUmXKyabA4lrbiJcmfUQsCIlQM1i1j5ahwGeVKmUcyibheX2VxAibEv6ksxfcqvjpk8Qw13nckOhEPfYvVP9mn6+Sv2TzgF8PPn7H8j5VjMa255tSM6sbWnD4+vsZX8PKnIiC0mpCQXUSuuqLj4GzW5Cv9yjUfMoUsu9ifufvOclGu4BWKSB2h51y2NTipX9UVwj7RCPJ78xRMZbvV+vKtXM6ZIfu9eoMPQD+uabBijXTj/BDjuPO41cwbhIGgvMKgxtJJzb2dwqeHyhpHE5LTmZCxRiOB0JVw8P8KXkk59oYOiEA1WX9qGFbrvYNMSPy3H88mKqnMWygW5ExuucnZHaQtXGayDmpiBeUYAAuQKgu8a9xUPo9L7BhXhwPP3pkVA+g8W0czT6zq/9JdwPq1L/zsteHB3cW/OM9+yYcEMzskvu3dJ3GZALfv+rHQF4VlnWNuWhiRbSuFbE3Ahwa17vw98GC0HW6MVTqoZX8Rg75T44DFk8wrCJkgs8wTl25R9F5QTSzMgynl13Bofy91BlwpEqLp3YmohPGu85Ob+jk5xvpNeqmAGD2iGh61qnLk6bKHLjGfNo5ToTWkc/ix3buHvLAlWBx/fvW1Ho706E106KsdUQ+Ghhkl1PprU31Cx5st2SPLqygdSoeBC+H5s5+FBB91Mrfo8kDszoVvu7HiqEhyM/Z18A49fR+KmdjsWPItHHumKrurMPfXR4UneirzeXerpX+iK/ybEiULu3QQpOO4A/LI5i1wRjsgNHHk6rdU9gjBPsR2AVn5CTQ2WND8L2FKAE9dxHdN6k1pFqDiU2IcYHDmMq+I2DX6F1seg6La4idMXwZvovakfRhgp54LCu7/5+3k7kY0ohiBtCesWgzhB2KDa5QWDuTyLPC0ZYOMe982+WCGHu2u5Nw34jgb3RzFqxN4IBuI7jbjSXka/Tx3Reuh/VBRxBV9JVbUJ41txswwqFhvo/G8oPvNS7iM6UgrdZXj5freBfogCnm586fpHjvRla3dcqspwWutFdvqzNWcm6ByBG/OlrwlMx25RtQVOfHMp21s2Zw8WQo+XMs1cDLSY+Ay6PkXojTxoATu1VTg9XxKnFk6b4/IkJpfLpjddBbPQRCKJ7uHsRvXA61WCF87wgm1wvXCjAWQUK20jXvj/6GW0L/XIZFV0SgJhHp2vSxLRk9Nz/Mk8JRFhb5YrrMmVYFdrejpvXgxgLNWsicQ0CqtJRlmypawqp2M+fQcy/r+hWzWznZsszf7Doyrbk4mhacq3/wClJWKXrlIAnWuN/bxKyJJFIKLrce8bJMtZSIZI1qadliVjVQnZf9Kx9yxCqy9zlmwbISvsU0qGjPQwmGuyHsDMp7SYn+aYDTE3z6YgEkFXGnzJB5YW7cA8f9HXZ27Lkldgt4+IoAiuRFjlj5L9o/GGv4aR4Cqsmnq9Oo0l2b8BCroSJE8/Ye1NgBa/hSCtraTbue44ysGHJJ+O+JshZ24cslzpy483Sh6IHPmeMs7F2eWUgWe4i8l99v4FTJXYw+uvLetoWmbYwLXFI4fGxCUjJTcLdneKdX+2FLlQELRTQRO0rMVnRtb8ZEw1SHdjW24sIJVkWkxZO7mNKL0XNPf4q1plsyCTl+bagupH6tpv1EjpevkoF6vG7Pt5k8upZoiu+wXYCZ3nKdqXceSK4SAvvoCFJac5ND7uFNQQ2ixmmheQaWyrihPEuNmHAJ6Xj3tbn+Lwl3AUQlZMkgNFQuHZbO16t0S18qM3ak4hKVAT4qs9SLwrpmffuORLxEcyPwgt3JRt+PVaILWRS4cf6eX7v98n/CK7pPzfJ6G80Wauf/bCSrg3XG8gvuLZxZYFIcpnI8q054jDkyX11Hz+7Gj/gJ+Lnu9XWaAJ2+kAxND+wH1+JVlnarSWfnlBdYsRXUZhuXgY+v7lTTQKQCAFmtY3ZAPmC3XMnx3R6cYC7m0RyuP+zIautSncCsxu375yx12NYolZOft68zj1ci9aKoZdcrwbEuyPCWtQCNbtaVR1VbMg6ujuTo7modz5p0Kf2u91d2W8EDNshcF29EPoH6oFmrYWRbiCbmw7rdeB1My//5Kv7YVdUT0f00HmqTFX+9pJpBnsM1Ed6ww73TFvrXnFND8wSpnNZ4YdQ9AN+oT6AUQG3vyLUsy/pjd5TKdk+ZxIsUzlyzhg83hsonROyir6/LqyYJobnRTryYNA+La42d0bK0//gGqcPah8+K0RvYCWVO5SN4g2J97R63WauaYJlhWlKVRzfi5uhI5NjK8gM/ZAeMqqsychEPxdSA2L0jzwe9DYwTOkepr6qXBRQUuZKiBzhFtlotQJaDcERa7C+fXu3xcj7M3fvQqB9wgTSZctafi06AqZ1xJu3OeML0iXjSjvtVhSqmAZuJz3G8tccQr125KedZe6QvCTu5/z8aAYL/KW+HaP0mnm/DXBPNExNAEbApneoA+WVOxSav/GKUdeahfqNa01za34/eWYG7q9gDnJWv13qj1A9kKO4cF8Bi3IPmTru04Cur8dRxHX44kd5mWatlRS37CbwcSjgr20O4iTtEtzPuOUjOMlernyjVduJ7MfREZCtWAYPXm41+v2+DZ002P9lqZJ0/CQOPrfm+pH9kUajNxTrNWHLxBWPV6ewVzVV/FK6a9M3R8PiAkUm1E4fKCdsBvck8D4mIN+C4O2sEdXnqRyBWSzOqWFrotxh6lwSbVdts9MVCaoVwrsrMq33q0DPBKFBg7CXsYZgaMwwM6UQ/1DP0BJ9gRBOPReub/duXMglR1VjAQ/Ms9PUdZ/RAILki1HHI9jmO6FC9ngtXGVKySax/uy7avpnqshRGFYMM2huCDMfc2VD7c9hY3pSmR0ADR39fX94YHS+hRSYDpDqNqMRhpNXalTiiHbsi+lvwS7TWK75ODZJJqX+jL8W0e7kwGmEVQlWhdNWyE2nVQzanP5+evcQwL7oyNf+xKYLQrW+9KJC7EzOBAtyTaM8WWerBjMKSBJg1PFKiwVTwvgQuSBXqRzYOHbVOV8ZfAVciqINoAX80SnrXeb/r2pz6uHWXKFQd0zfWNqyTuS+E36CxbglRKSGa7jHsDX4YIrN6rwEOfzyAEu8bx3B/olok1HvZ9rjZclBKmnGlLhP36/mlB6fzeu2U7K+WhX+OO8RvfzaA0+0rrogclBKjnIB6Ot5TsT3X4Ts3VYt5pvGaXVpAF65xfuUc6Xtr2cRe7DIBOGMSjisXRhypvbeSRgTXd8avqVzyes+Mq4exj6kn0p9M+NiEyyqWQgrkGaj5bljq0R8Rg5a24ENbW4fbI8g+yDKlak2a0IUgF/gfh2WJsjaLYabhzGLBXx/HC0FmttmsFMMj97KcIq/DsGFfP/CxoaoJjCv7V6A9XoxY9r40Wxdoim+JjzkL6SPlzQVA+47QNOOBodgNnADBtC0JHoDkW3TdbP5A4CCO4bePZvqrDnq4eieIMRyZpAzLVW40fAz81vS/pr1RKaLlkVWQhi5ufttrOt97e3NHfae4zPOqYxHvQTxmBtiigrz4MRtlVk+uJgLeSyRnxo8qAO14DJc2dTZGwreqTuboV8IzebTqLNLGN7K6X5W7tnPTc0b1kE7rEZK/UlptoHjCeivH9qCTy21kN8+UM0tZEoGRa9s1EYOi6xz8ZLxqPYxl5ld1563kzSB59IqGIJqScVGCOmabwy5tJL3kpK0QeYQzLubBN3crsQXuOg++c21Ta9NQT481XwPfW/OEYDHrqbY8LC3YdquAQUKaKm+Vy7d1RCQGu8P0Oo1d1ZEUtFKj4H4EphxbupLamArFVlze1OUWzze4M9MCnp75urvIUHq1YisNjasnmkKCLw7SOERH/l18X/U3E+JYdVbPnzCdxfo8aQlq7dessDANDR0q9zykjQHIQd7wfsZtLlSxTqVrOP5D67mclChJmQLOJMK8NxQAN24Gt+/oPRScr3ZEVipsDnjWr63v5Vs/4752U6oJjnCWwK8Is5/t45RzIo61dc7H+ebHJoOux7M+ZT3s4Jir+kQLn7B5BnSw4E+aZH1o+7lpOJV0N9pu6/orK4t7GvBPH8EaI3n5a2Byp9kaKj4lxS/ZnsAdvEgNaNKmh4otORxr8sVw0v1J1QbC6IT7tXsG/U+jP3iew8+W1gzRfoizFMXptlYQnEhpJgviD+2VtyYlp5zRy1L73AkZHZNDpwPSx1sDklOyVPPt6qwbSxR6zV8uJlWGWtE/z9Fx58ssZe1S3+gSZNzW24ezo797urF24XKi8MmwpQ6sZ+ZFR/+gieuL0MXBz5R0DuTBFAyyX62iyzvybVBQJf+IluxyOsk45DufkXM3HrFZQI61acdd24/dAf7zkv+IwTIVrJjOBwdbOhrffXUCZK7nGaRfEUKDsFEzm+7XjPBuUeqpOLqjpxsjbPGw+HMgt3qIPhmQsTBgT2Kv1neCMqULtTQ2MooZ7kx5FFyl/TTu9uNHM0BBikugHBcmSU3RieCL2AuwecCHJbps/oyJ2Gi4KO1xdOOVgLrzEfUhK1MAelOtrGZ/cdE5ZY/xZZ0cLMoEGpI7+uCcLShbsYr0biu/zbQrj5wd4+Ahhi2SJJmTEc70MpRtCUtc1Xg5ohNrwK2liyOAXwJo6WJc8fVOXL6/HzoXwu0oKc4lkUVji2FiN5JXkRvnGjvK+Tz8pnLSx7WdAD2w+/HTM+7zBgwc4oKiEkXXdIE8EZz34eqz3Q5GWZGqf7cBCeBurVl9PlAl582dH4vw9Kk0vWI/4CYV3ilBbes+stvdDgF1JCf3+RVtfWVR/lQR8rmaOsqSmz71uV2RIjjo1oLqAz+n3zVu6U83BV/P7FkdKjfB70XVkmHADzGx0ylmzj1cejyzNgqh3DUpRvOZqPv97GuXENTyY6wu9X+1WPFLfb8ijs3laAPty+C1Ahl8zsKX45KPAAEsmT31g48KwJTFHwCl+Mccev+0UpxJn2TVxtASBYU6OinI7RDrKAs4V0LHWAPJDwvFUyibKMVgfy3s/PwmgGBoYSU4V59hU0QJ1VLrE0Y6zFbNQUfwMsJGttvWaqlVRic77ixad2/2x/k7ozxz0o13bDzmJV4f0gbOGZHrnaqBue1SZR3HKKl/MMdSInyb/dInkTUzkqtcGByWCq6UDuOHyW/BC3yIdhLfRX0G1A5JuivMcE9+W0fnzi/oUIzoFD298sXRT7PRk/q1q79GNumHa1X4IBqDfrSFTbOfxa+C8Uf1+ltlESNg9tlrqS1qMHYn9Jr0SeDrkExbkVVZFK9jTk6kn5FGXRZYHD4+ZoTHBYCJnyfpOYyxIqFZL7bDeNXjYaZdY/e8ExQRT4f6z+OeG3Sb9rTk0/7XPrXnhTPHhS5y/P+0cBxW9iRWpIdgzS8WWiperdVJoAgekXo5BGtPa0GjX7h7aitMa0IJcn6sDNag0a+kIvwmAVT84A0TJAGpz9bcTvtBLuzwBdF6E8Gp0kXLEUiSO2hjpuMX/itfy2WS2+j0g0IuqVsha7Cy+oy0t7sbearnizABvigseZBvdH3UNG2WlNt8UO/NMr33FA+OdniQ2g8hJxWDqyo2jYARbQz5+a8cqGnTAg6DcgNBhfAudEiblp1mu2xqZnCzJZA47+0WeQdQlsIWP4JqVDnu7Q6SjOVOdwteGzt0J+LzTLXWjLy5fSYCdiWfUF0F1zG/gGdMqU9C/SL6F0ToAi3AQBBqcAw238NEPO0QUnFPEvH7TGCJU8ZWlEPSXkCoaHmMRaO8l0KBINUzaLECHHK6ICaC39LSwUQTQqJN1YFApfPSUsH8lXPkhTI5esXAthvWXFN8E1S1glV36BscjrZtvKXuHwWMA2KSh6xIZ+aC89AFmjre0dhAPbywRuBTiqZ76DOp1nIkD/g4Svd44kqhOwJ1TpYLgJkNyrfP1s+BkZJXfrKp71L4pSKDVtAdH47gFUFJXfrfdPoarT1f7SXK6dgbQQITP6npdSN1P8BHTuPQUU3QpBmH6EUUPpZQC0J9/GCnTdBoCLn/gekrW1alIxng31jftkkQEcNTh9liJeyYlmhfiom39qusuVBblXNfAnfJ9qv8VvSTH36F9Z85m6UtiRZc/V54uiJwkOkN7TmT7XXqxA/cl4g1HtB9wnoZrpLB6eETNZTpPsmQ6qKcyKNxMhcqO45WhYJJvSC6Jkr4h4qsVnIZXO5yIvvUNT9/rU0xlyoVk13IfUucP1CPQRLXsULb66r0LOe1PL2kfwWtsBhbrtCaSO05nHBdTzn3ib+pLveI5dvXCKkxsJ0PiKSubfdfTvrkN8L4CtpMV5F1msSYsdeMHUSGTOUUPf4XOlFb0EEiwDA8SghFKXW8UDpFK8Rcssmm/coNRPmjl4+GJNk42Vzn68RenGggHqaeRfTKwJnhvDctJ0dQiQC2DzMPFKba9TOXYbQbQed01ooQme2X0UDp+mZ2H8DVNH0LLryQf0sMgDOizwe0nsyyMGacFqU80yrUOylggD4TxnMGogRcjTBvAy++03HuDHvLjUn9uyMh8nDcdm18Thg3GE+Q1Z5Rc2Sb0qFlxJA1hldA1bp2V/Gmac/2z19iOcu1OzbMXpgXTerWqlWXgVePK9RQ7ruyB1bg27ge57gDcX0yHYaIPaUI1Lj7n9h2eW3lgNUlI//hiyZVIC3pkyAsZrUYw0Z//A2Nhol+G2+X21NFKxggSWNxzZv2ex9J1cp14KvVyr06durVY6Xej+ENPkvxoWhiax1N2zPSBDsO9CyKQGA1zPexuYx5i9HBpecU86enHkHK8XSWN0NW9HgYN2vFSDD637eA14S8CskpX9aS2/5z7X/QOX5e6oNK8DCQDQyy1t93CliOrkikptWMlVEMkclJPZxsF4obGYc8qtOODiX928j7FenSQo9L3+ae/7VJdwccqICmb4wUDBLz3iZriwt0F66JVXxIK6VNWRK3Czwg2v9qsfhjOo6+sT9rTGbsgYky0EWsMV+yz1wDPUZc/15n2J2PcVSZHGlHc9qKuq73IC/uVX7eagg3ZAw5MJHu2J/6vp4VsqP7Bjx5n31D81q8nFJLCnD2lYmtzTACWRDTJud2o7KOOWnxZEMnFaqTw5gwN+7r2W1nPWg0eWViyiazZPHdD4DlgapSwWrIPVs+SkUNr+o2kEU6i6HP8XVSjkSRKBBnNolzKzg3nMVtU0/z4DufXU9k3Rt6moDmWF3bBEPxWi1YtCkPDzP/yUSZVfuI4otryKM0iuZc8R9T0LVFBwvC+z2G4oq0JPfuhld/QTerqYZ6mq92UBzVwQ2lBVoQCfHaKJTUinXm4L3JBk91xZjBeNO0a7tUW4ww/d1ksuYTJzZ0KbMVdXYheBhrsSZeYCNVP5fTXggBzqMRvDf/gL/wLwXMVHLegktqaJuhGG549vQL4erkQjhaeg4S5S0bUEXciMDh4Sy2rqlkxX5AjIB4FvNxe7oGknMEhBFtG8JX5pu/6cEfCzrrVNP9ZxDqY3QmtG3NODWAI7GZIqPI5FTA/Hx/1mc5h/AMn+iIOV4lHaxu7ROphnmGjw+skAq/9rEToG4Cyg4sLzzvoFub72sAtsmLAkF4XuKhL23cQ6oiC/wZfUzenO3FgiH7DA+mrYwmiFbhCz6gMfHRhuYyxmyB3ti565rzJV3saKwFuuzVuUQbEvL+1CDs4+BfrBIHXPx5KyntHxZEioWWmYzyxK79hm3VY3755N90b+PuDAUHEgl2MOPBxoHLykdZZ90PIREY/gqrFVauNC8Vp5pQQIUSTfoYNGNm3vY0f130lMX4LGDfyViHsPE4UrMPG129vhedG5XCEqRHy/tS5iXBKAPdALaHWvhztRU7xDyECooSeJsU//joUrIoxsq1Cmxu6WAhchmnhA05sL863NK7nJYnXgXvxL0f21s3HY7IFlIcrUsqQvixtLsuvLsup0CUa57RMibJ9WxKkV2iAiM1bj1J5gchNqhhMRKIBTaaUM8/OQ5j7dyKkkd6EfKXVfVhKW09/NXgG2nG4OKPbZeqyMVNznwiydwzCqVQudI1MzVqnywwaFEtaMRHh+zjWkRhgSYcwMLzNX4h1H6UXw63uxPDqj8wRabjwAAjr2pn9pS1BsTKUL7ai6b8PLjPkVXJM5mLFrDs1N9KtLdIE915CfYA91e83VAQrhsluAOf5yLHg5Ymepz7nPfE6a4pNgFZjYBcnIocfi4byO1xp5bausJrbXQW2PVEfosfgH9UZmEhK+CVE/2P/d1QVFQpLu/YwzzcP3NsRFFm01dhbYxRRutHBQvFFis8x2FblbMSheRtRUxqXsmDAQxQFlAOF/FgvHccWxE3xqXDQQ+rOxKe3BIr1C+59v4qDMxnPCo4ayiOnQortjZMRawt0UC793xQPc+j7BkxBnrFlzEhHjapnkChTR5fm+mGVWzbjIh/hjGZvIgLGGb+FU6rgZTsh3K71eGC8r2R7y8I4su0QIoMqgYL4jh56XA1RLgTqgj56h8DdGA84R7r6zPfSJdLdA0dyMZhzd6cdam4MBYee1JykhfLsEKS5kBQxHowj+Au2WQfLaREx9SYhoCiuZC0dte50E1BhVfVdsq5Ha5XmkuM8ro+VTLO0jhIz4LaIYCI/YJXTFeIVki3mWOA70/TYhbUL3VkYJ5JejrNxfgM5/kea7A95G7ekd4vPNkS3GI72aiw8rQgkSOgK2OwAUVRIs74BgKn1kPM0bVyPJ4CNIctBUE8F0VgX60TtwaP3sX9DzeMF6XhhDjENfbySmpUcQfTjzKFr1jCDdH+QeLhoMyk86yx5f6SK88j6pfYk0zDDPnsTAp1x5+Mdyuod9SvDhJmu4XZ0nJPGhfuE+e1bsxjihEFNJvpIwymp/GZE86PnCIyvfn66atZIdicRT1oyZ+vv1mDXVLPEQs/0h4Yia+8bXAqnioKZXzicPUblrC+qO/pmyRfYy25rE8ot+yWLa5sf9hqLuqLnVKSmAxP4IH77CwQ0DbOgrBoa49pxtXuxoideJzjc0BGppo9azxCCSnqnNOGWWxpYZyxEQc4F+2ahn9uKUriJ7tEtWGbLlfx86UPWF2BZG0PzeklqUD4viBR/WKcb7PZiNWU6yLHofaW/t5snqM7QGgpQeVxQanWQDthon3oZ7T6atfthyV1xrabd/iXuCBsM+kX0v9u9pULweZjxg9c+EyrJC8qbmUZCJD6QMz720NZJtKjC4GPzPddT4BU/7AQFAHsOcW5BRrHga2oyEfTZqI5mQLm1WNIRCR76fVcl2pz0vqV+qMhDmr54ZZnlRl+7wumUbLvgM+Kl0P/9gVHWf8yFbWZjIdG9mRmt40JUvS+pdf0eWcYTCid0OTLRBOHtbW8SEZpQdXyzL2M2T9VU7yw0b5n0bHZWy/j4y/TK/WuIkSM2OK06Wmy+UnPMpb7+HfclICwdf6f2XVymjCFyyxL7ATiMlaQvR1uF6x0NkQt9eo9UVAgKR56xas/tovZ6ML7bI9PIYD5KgUOi8PPSt6sNBnnGXaQWNiZLaWffKKIWeNuzK/9x29yYafpuq4812qjk5i6H8Af68Y8FHFB7asuh7cuiqlJ8O8YE9KE9cp0hDbnu/zdUScanhnbiy5MvBuWFaEh6XlBO3wdf+O82da5ehdxyt3RoI/2aR2DBtDs9E2L1VrWwYgmhkU2Xe9BYymIRxD6oLd0ZQdIhA0bVQfbHD+7YgUtqKJgjHUr9LVLCiykVi7ngIUCY6aVUpdnsifsSArVYclmoXPD63deshOayOCvqiTAR+iwURC9R7UhSqKtIq5RiH/dPSBPZqveEuFeXhq3xYVrmqiaqs9lL0+v8KJII2YqnF8G7xNZI3IzA7ew8lJM99shzLbOma9fEN5u5YB8uHsDXcWdpJ3stVKh/emNgm7cy+ByknuAjnoXWVXvnMrUCOk18V6uTYh9TnK5uAJanV0EQOuZ22JxmjoI689GKi7gaRo4IraTfu7u2/RoTFYYEFrsMXv5XbEj8MtCA0W2+nvRwE6a9JQobM/sPXPc+KFzG1esRpDDtKnpDGJR0IgYkTvOKwlvr23zPUvnly+d+Er8FkOBgV9ohan/b+V+ykgroJBp0kNEwV1tqMifbZyCDpDp80CS9etbo0pjjYYkWTOzHVYfCp0uMH0Ry4sUkHBHFvUsWG4VQnqmfVmRBzUsNU9EXZjrNSnZklRBwVtQ6vvxd5Q2pi9iIIAQCvmZSpfuZ+YbI7iVeCYZ6/kDklUqOt7t3OYb4pVo1Q1dgoy1mp99mUN4viwpUJWrJ/cQlpcGuYsplK6o32R2EyLFKwTBwzZsCMH+eNZAzMPkwTm+OXYZ4fUN0dNO8Gg5MvybahwoAywmtcIbfYL0bmCtAhIt3s/+Hy2RCfeRy8Gxdsi5iehLhBR5g9J53Ucwq7h5MZQcf23qiuvJgJMKY9At1T4OftKTzPZE+o4ZJs/PinRvjAce24kfRrNcXlVQ9sPifFeitoZffTqamfD9YmqzTgodpwu2vJPfasVY3DA3VWAGIV5u9s1Ri+LPRyoL67Gi0VLUapo8RK5DeD29Yh2i05PNU7mKFj5SOE6BsbsIYKPFTCt7qGzzzgHA9ZoYwChXKnIuURD6qiA+WVG/h0KMvZ9rzdGRZRj3YauA2HP4Nn9AlPUI5s90nrua7Xf2LJs670nC1JIbYiLdR3jDnUOlFi1r/c3K5iPzvQvjlqi/HQxuOnRqPEfaNGErWMcQUDRW+kJSwLmQMMf5p0Jj0RHW6Rgtxml/w5lRK4NuTf2ctpdQclNPNlYen8CDpTTHXzsZPOaWpiqaLQQU4Ukvpe7r63vmPK5uQ1YMkS/l4gsus7PxfafW880TgqSV6AC+uzLJfQtUZzuD+cnXFti/OP1wYN2M3fjqtli+RimVp4HUT6TQvxDN77ylhD47+j8IiVkpwovslwQj/4XUGI0YBLdSFv0T5bYUrsl/O/BWYj4bPOcob5QNfqWQ7cItMUSi7Z/IoDTgjY5CpdnnuLaDbaltOJ378cTRk/3RJoSuWuIdRJlGlRCjxQbPYoIVPKTTtqRNDnT1xYgk6bxB8Ow5rz1NLx1CASDbiiGdCTXv9tetfg74+7asoJPuvJ1ZB/eLGUucNPIJXleS7RToj0ch8VmlE7mm+DU6diQslO5sJ6tyHy5RNtlTLD7CwLG1c9s5SAthlxE8cugbLTJIZuPkUsT4bTtRDeXq2+H7RvtkQZP93BXlnEPb22VqoAPxiBxq84sXm8TUdTBQ9FWiLEADFFvkzFub+SvxI3UO/5RoLqlH712iVRshjdSaR667M1P6+Q4jE8BSuiNoizwz6JHMINJh3WXMF2FHSdKCmbyd4cTf5Bd/ZEbVVpIo0OH3dsBMv1BKEObPWjk2G+Ujh6JcbOGcRtJ6GOnDt3FsboX5CE87J1ITAH/ct9zQ5HgaavXdsAQXEqzdzf176nrzPa5ok9m02PqTg5RJhxr59L4Nbt0uDypS7FXtwjzRRv61bzcROxzu+jKdUAd4dQ8mcjHq5fK+PpppuPSPcvWIpIdpXo1A4rNPCV6aAgo+aNFeM0rVUTEXPNL0pd2Oap6v+FelyyuyJ514OQ1JtR+DyO47wEcvgt+BUouA0AiYoxOceDRzL3DHw9Iz26JQn1rTsk2wW7pMzNkcmSfYGBkxefqDg2STjK0Ed2nTBiAHaX6v1ARhq9M83mIXukhELHboKzGZfkNGmov5ZH8l0EdtiJCbQMuhbMiMLonrPlVkNRP5IO8hqdncVvyWybA59MF9beNGspX5yn2XQJZlRhUI9LWaKBjgkufFuzdo7lqGghqkmA6wPJi0NW3KjM069A/lU3nUCpkAIK2rXtVhsaiYtrMu13pRHi9rwg3EU5DmAlq/4wClMRbqkK5mVtuGVJPTG7sFbZkJL5nDZQjekFBZBWLWHisRi7wp/Og+fMvz5mNnpLUcM8hHCnfu/IKCXakFPhwSOHXi4889ZHvG8FXITGVN0CuPGGU5Milkm7zCgMw21PVZtCwtKzzOMtB4JxXW2U+ook0Qb80kWl3xVq7RaOT+9veFYQbpZJjC08/L50AEZHf3jAK4dMRdvtudVlDrxGi06qLrZfqumdbvskU6qb9zRyV+pve309TD1gpY1Oy2sD1x8wiFpwiTmyoel5ZC7GH3d2MPu9n0UEg5rLCXkA4ou2pwUJ2m/s7C4Brw1ST0q8et+RXGnZJSCquYrvqxwUJhUyWtT5BXfFcW04dH6ZiKwpdXNrbZ0FpiEiQAde/Yb5jfg7WtuBJiOchM8H3UqY6aKr7baUuGBXeYW3f7DpUDODt/D/3C4rxULx6Aw/62yRtnHZAOl+FoJvittH5V4/avBr54Fg2kwsfttjOGEJn+IskRUWgMfeYGSkU5OPm9wKB+wCRyabppPXmvvaxZHs3jgNJFBik0KQvRF+IJhX0GL40kF/1CoW5tdJaP41zg/NGKvVkzsyuGgM2ASWP07/q0qvyfbn/p6mEWFecAwMO/XDqZXBvz5U4C1z06YwV6NijE7eYfRs34TPvERuYwpFE36mZKuW8jnhRLRrTb4Npe/+7jj2wkGtZuRpW1pwjvZpRE12Ty7Fvay+hjQrq/VSEoZ2EkYa5QIEDYvD6eNmwGesYKx5zpFme1liKwP8AX8pp7cR0gcyE30WbiWyaHGiY1KfdMdPp33jxD+DNqW7kreocl7/oHzmcGYwsEiYZs1i95zCkQnuB5INh9PztkuQ+B/cWnwLcDItB0fkR7wkbGEUh4IFtJ5LJg6nbmZmWiZb8K/5tnhNxi743pulGR5/fUIQ1MFftEwmUO6xqEBC4v4wWtI8Iq/JpK77K33OXz6rD5S6FteFAUypIvCFYNU1kk+VJq1PYIdNNKKfba+xQDMKS6Eo+pK3JR1rsjGYuxWNFwkFeD14L925WeplNvseber3fNwwagYDgMOTVAlZO1qgp9AYwwOqib0qIG+v46iNEwX1XdAWOhdAZ1HRbXNtqxjgDJGEXPjtOOEMCg1dzym1nvkrG5jGdu79kvJwsgbFuNHIGiypL712m9ou/FgNQEhe8jXFldUdJ4lwoew4nRf/Svwblok8mFMJTGSnbaNQgPs3M+FGzOn9uSdoWjjpHQ0kFoBtLHPxwfjpwy+HA88/oZNHyYJHKkyp+lPwhvBbY7JE7/0UIcy9MhxnbMFazUn03AiMF3m2XAICy8U1pG/ZqRrbfU8sQYgJZcFbF8lldngMLDPF+vOdwOKyLe5irmRMWFW5ZQH+BP/V3pKrT9riL5cSggxfcx1SOeCfNo83wmhpoAHc6QWVjzF4N5w8Sg+bJKMTxu6QIq4o+ucmdKXgsEUhy048+H4jElnY9BtPgf2PQAGlcW6SfP4ATbsDtH6CpDPMCCwDFwf9uaCllt1efZm3VReVHcCL6YWTT0AiUXFSnTdTTsjiXS1RxKIaJtJ2u2SqfUMjBcYCD31D/Rb7i/nJiBVBPgzDBoqUqHMBxVBhxBW36MjeYQkYstyMr033SDZWp4WhF0GUSs2SORAALm3vJosaaZta68e1aSi3VEC3tj0rpfNvpb04YW2ETwrvrGo46WSgmeE3xWlEbinod+0xBcz6j3OjS2/OZ+jOFB56w1YgmYXklmc0nuY4ycVz9+s8eHjfywdNxg7JLZdrptqyztGMVpXukjMF/uh8zmsc+d9IidkausbqE+sh7PUYdaIMQTAAwOBoZS7F5iJ5PzShrDmggzq/b3lGatQLzJPWnzhrTj/hnjyPdubZ/mu4dCdL08OQHH7WRMPSN7So1SX6cZoHakmX2E4kvth1szrVBCp/ipkCiOlosYVQuZSvc7E3oPehsMvCubrmQPnLIRiTYk8o9Q+Zr0gXIKcwWSDKaP0R5A+CQy6ruglKBo0H7ZOXPoJEde4RghpVcI4j/jKDb5lpvB5BNmKWLGvIEEmeXZqPtJn1/QnT3yyNhkCSZs9RPom5Ozz2HgAOep4N7dIQYwj1qT6UYXdpN43sjppo3Cm/psDd2glxjRt5nER2TPWzT3mMyY8VJqcoA0t8NqZnOUo8MoMqG4DVYbpoo4xpwolKsFRT6HkNVcDQ5nWjecE4MjgUzpSn4YbrZW2c5z9MsF+CjTCQBr9awemDKPzDHlZ12ACkp8j9+hRz+2fZ3VU8ymdoguzMmRQI4z/0XfUOG7GnRgugg5fF2SpDgD4qn7r4Q7RxbtGzdXdYWQmVoC385XxnhiEztvLOsEGVq9lOCdno8n/eEH+Zp+6NsPXBYjKy65LrNqyBk3rmCGip81UYNImblZKYnLBW4eHQved4tHRHEyuN9EDWRJW/O0bRMLKz2VNeTl+7IPAznIRudmNmk/JnPHSPj3vn4iAH+b4n5ObEC6YeaUcyP5pu3LPe9wvId0NXcROLt7jqUNMW9RF+7QkpF+96aplZ9MUrKQfTP6gKwuFqi81zU8zNhcbQDM4O9BFIhGMQuQVe/qe4BSVhMa4ELxN0bsoe+re1c3s3qmSDXNbdbqmHnC3BJM5oEYw0Wi8BSXz5JrNHYdqjWU8zlyWYYJfdYYFri4GSZVSEBq5XmbOcguLmaLMyD6sTwoGC1S+PUDmUsLUBJ6HhSfVcUi0ppSUcgzQk66p/jPjVqm0COK9CtY0LOpo5OLeHFevA2ab0aTdyJD9nDalzaUuS74VSY/Vb7DqK9+hTww85C2cKRZOCTvlK3G9OhvMV1H99dUMx/aV0ZF6GgP3ThAfOdMwY2i2dtQZGqkjZuCQFYTwDMbKGPM5b9zriSp6rREIOJAbHtECPiX2bdCNNWz0utQ1NiFjGHtV4af734Ad3o+TB+e45IfB5CaoBk7RLuEvstB5x13J7BmnKUtL0KbvJLC+v8pvNwO90mRszXY4AQeho8Y83R5fgsskhYfLXWazigdSrGvdy8xy07n0JEuZp0pwuvG8Ytc1XJcMtBuRfl/is65j9CnIZTQzY54N3YwekYCQFgG21Wqt6hnxFq3k/9o48DFw7KYWPiLQLXinKvzQ6sYo2Izf5S+IGToq6FJNa5FeP77HifKGWyLjx1zGf9DXcDy/OTms3mmz0KoF3m7a9kr8Ph6UKuiY0Txn5vutausV8AbAw3eJ2kYX9Gi+7DyRPmzNSvDugJHju6lo1niVJaUM4/N3JFwLQivFBkw7bw8TLutxpGHQZpfQ33/Ox+nPVtK2hWAg2RAfw1CH3/qR4UJqZleRwT8bnNO5B+AHzB7a1fHjJT9QBUYUhYbOdj880y2xRS5G9d58DtVdJhPwSDxozVo2lnohzLeMsNLu13GW2epemoEuMUZ14DzUEZ0rtSgDKSivmEMtHde5L0ltEixXySailVdoy4D8eIQX+jhv2X0ofn4QptWVFKKpWDbSRia13p7wPr4hnLBvITFABmg3b6UCIkmUcaERIbNhBVAkST0pQYwQQTfn/UZOHYmT5aBlLYzl2tjeTcfFPmacO9/AHFm341h80Xd6AoTcVZmkg8x8ZwEgA1IDxgsdI549SU75lbVOJj4xwsJ6r/lMT8120y/6cHs2Zla9YVUQLYr12BqYEnouMmxx/57FdYKmqxHvYplP9xIFxfx0b1GOVGLhX6obwtrDSP5azFMvuX3ax1EpnemCaFCiSQr9jCi3DJSfL59WWvmipnEk78ctJWk+NG/MSUZoglf06Pmqc1F7GfWHuwmzaFl4RtsCtUJbbFpFdcqbtF1+HNKFzP+3WO28ER1bATYb3wKRHT8vhSMytHcWs2ZZVSxyvdWCY/SGBHl8wJvspejtM9G/PG9XB+0kD7RoR3zkEXh0RXqzQBD/y0tna7FcOa+3k5/jQt6Gu8HMI6EqnUia1rQIC9tpiIL3CPlJfGsVtDhiDDugBi0NmrYvKsMz5Ypd3NwyqBGddqBvNDhKvxsgiXjkLFulI7PfjaJpQzjNNiv+OkxTAaFob7+3pimpaofK3XiVh5vJVOR8LEqRrlvBIZlFVnlPtF9dnD3rDHsAMPmvRVbMZzak0f3mVHq5ev51KE+tsb/EdUXThzlK4LK/SfiA1W9IbZo1y6plozqbso8+fLD6s5AU+DtzhFDx4qNFbgkJScIdbkrzYwYv18S1hfybyf6JN64a75DFo4lV9Gp2ZA5vChjvgKkL930Qu6xkny2g6vOK5Al9g93Nqbkg0TLoMY0f5TVr79vRfWVwuSMe3UzY36kyjuZQfWtfKvfnC9zuIzhsWmswdy3YCm3wfp5vXr2x9IE2ObGtSXcSbHLvO4nVq+xy7QMjK7rr3JPlTxb9qsleED66c0hizrMWohWPKm6bb50FET3WWv43z6C+2UbR5V6eFEwZK9L9ZmDlLHgPdtjG5Gmla3ZV/BaET/FXww6tRI4ZmxRHRwUhLPYMOe7pIYvYw+YG9pWRz/erzFk8WLCqccvECpf2QSu5jiInoBAKeD6FLwF5en+PsUHiKDGfr1qk6hQOQnIsJncaRinKJSdbhpnbgvDCla8Lhz+XkGaShCQEv3BRXeSDR14HTEUjoLM0+KR+AcWbcABxhQeX6k0pWlCiDmI3eBy49jvNWrXv/ShADda5ZH15Fl/Hys6XH96QH8oBjHxOyUXCH/mTFRKBm4ApQFrkeNB3ZGRkVDK+S1WfHhLO7/tBE5nloMtFuLfPefGLEfxOPaFBwg54GgYnTau0YrUNocyFHd00sn757cXFITx6nHZRM/bleB9DGzLFdR4au7Cg/WMMdZoHXgfSaTIR27qEnMf45wbAi7Hjve5Y5MQlp2I3nZXlmdN3wD66QQ547kRUmF+JdZQ88pwIB70UeXJWIK2G4TwVy4ydNeMLkEgvsk2asAWCp9cXksFR34KSMHOycn0cGjYUgfYGUyC2sHbJCuxiDaoAx1ytrEypDp2tmKZdF0XOpeqL6mqnLN3Gggr5rA6a+xJjmHp5MLzZLQ2FnornM8cgsUJxWuGIakTJ8WedP74UenFIsRu3QyIXF32lb86lX6SMeId4LOAMm8VSyBN91pyZAbStEM4J/Wtl5dkRuLgn4TIMsrr5PkKqZln67ufZgYiYlNNOGfAWVx3ujK2mLwYgkZPXWmcRNWLWdGhV9/vm+We+3mbyv8syFAAkUb/soPL9Qi2eh9iJEOifp4Sd42Fj+1nEUSi+86rYkwRAbyv70kaCuIj+uJa9VHFpR/Y/iJEDSy+Z9G6mHZ3A4f+Ov9Dh1o7ucqndeIYPW8OG3n8opnFltyvr+mp1qwdzuKxdxtdfV1crHaLg1e2lB0bHwZ4ktnFmaTSBx4+bP/lNGxELawkffeGrzYXGmHqlay7kgULJzszEYNU9NghR4Yfk2suLQjq3TGKpDSZeCge7MggFYban5ECXLYrqTjeXL7AA74b9qtpeytCDcU3yqcUiyP2ZaAdh9B1ZCiYZuStOznxVcnI/obB4KLVgaB4b7hnCc74qG0X0V8yF3zQFm0ht+ljnFjyyzwKiJdqQpBLBjbKA3VDGqKz+zq9MTViVb9H61KqHfmERX/6eh8kVSdolinYg3HUv33CMC13eB+ix8AHid2XZgsiATu0Z4BYc7TtIRq+gKXfQSPiHNNRmJk2lk5+EUNgsmITd8GCgLNDJH7dH2rD7Pi8Pc7kX3ROdES1HogvI5V/uM04eCDr6YKxyeRweu/zt5xBF5HbpBiGNB8lccuSfwBiXLO/bupIhPj57bcaLRexeMrKLdMo7KMnHFStrb/ltpLkzkq9fv8u8ZzPm556+x6Jgadioz6HKPyStPs8OIz6RSR/MvEhiltlDM8x+7xpuCp0lwjbJ7dunmsPA+mQkFWETdykRMARpucoJXAe+ccPaV+fWCAXfzMuTQLEZ0W1to4GWwPC/s5vy60GgidHx5boOD5EFB0X1+ynxk3glqMmWFngHefy6PLFTvhHyEaWUZP6opr0xHSbgcYe7qWgn0vtgzjMnJ63KYzDWxAi4HqswS2/9xOFhQg4Ua4gaDbZv0+NOBDhJi+zhOZQ4lTdIAsb2aafeePZTYSOiaTTZQye8TNzPM7g5rXVJDzriAKincYPeNbacp3NkWL4/nBZjjNlyzMKoSgukU/rljWCrcRX8FEq6bFPMBf146zWFsp4lxHu2+VKQm69/iAD35ZGdFHmSWnUDlxcGPxNs4/PYjAHXG6GvF9gknEumL6fCpHs86cwym4Ve3E2I0Tv0aXFW9PkDAN47MiBIE/oFohkEEt6c1d+qYeJ7b3t6A3hid/REYiYcpnHuSFnPdhLWq/0j54pxYTX24HXZlVP0DlVGi3o4WbJe7WnG9pX3V0z5551RwzS8nYNr0igogdhXcthyv9CMyJDOtT2keVhHx6zkVqPy054axEeyoUliEHBZ2cyTWQVsfNsMNRH9p/HEWANymsmtNwgmBihe3rGrs4AO5Ov6+acIYwnQWf7cWfIIGQOKSPlFtB+IehSeTFVZBLj1Y60LSNUCG4xRF5E40uFsFMxjA10gHVoZTvMTRMeWY1g8uOmE3SY29fyJddv/3UZgAsr3z0XppTArGHDeuU6W+09r5C1n50Mr7cgDTcoo6q2enMFbCf+US/ru8gdjbD5Ke/Q8xPi2j5A/Vw5bg1gXbf+zNFgznO1yudczdXUTMV72mIEkC9rM/TQqGsEiiwQgQRvyVNk5wJ+8o7+Gx3LnGF3ntxepLpI7aqSdNILJuJomuoWiqRpzX+gjABW5lBF9dEngEWUn5JLBeNK85bKZAXIj9DV510aawX7YRdBihA6UKN4w8oZDncRXMXLVPn4yMLrNKxa9bcKJ41iTk10weK8eHst3RbIrJE0HsOrs8iXDxuGVGIpU3uYD6Y6wlfHLEjAdnKAMjA45ERw8UcKMUzPMe4Hcl3I1JHjMEb9OfDhrBJFY3UkgQocTYzNW96B8MrkULKBkzNjgUTrcnxBwTaU9Ghzy59DeGfkLuprM+14PcQ7hLMYH477pFdBqbWZ64AyYTZa5Nj45w2G0Wc3G3gWM1fw+k77nT9vD7hP4/7GfTF6Z0UbY9LKkTCwK9EykA9ons2q355e3CBTd2z6tIh1mrKUuajr0xqfAfLMuVB90mjrIbreAINl3d3e7nmBZ2ovenxGLoNsaL5uU8rhy/5/KGybQm2HY+ll10AK35EY3m14UNkxVHkEos0vfEZuSiS1Qe74nwhmmK3uimIy/G2P8jl86AF1cYhtywk0DO+01yit2P4XcjvCZXmIIczqcS3pvcRHbLOWeyUfc1me7luEodfv79ORwFPd768BsFScf/1a+wiA59lq/RFVkqNRPGDOttCUEUFH0nQO9Iy6x5jGOrfEFcmJw9+8fPKZBFF+ZfFfboPLHGoTMToIqru1aeuB2mtfjQS9ghbMB56/DoO7sM9pdjGjw4xE5dGunzIrgnigYFNv+TVGGNLbSH/5QGK/Byk7NeDCbZHtvIX1VFFqlfCKnKMzzSs1EKFY8J+qMizi73O0ZEEacJMw3Nb9+ZX7/2pJhILLwTsV+UtU33Qe5qFYlJPJteqCiac0GqkGV4I8mNY9ZxXrfhJhmDvPJaeSJg5KMOOLBVDVCshBfDz5BqxB8ey8p7GD051kHVxelUWtplUTcqCCjcpR2RQOQOxXPUsD3n+J/WbDb4wQrl0Ha97+eUqAn4mlvw66GBXzH2V68cQehuO299o0yhwmCvVne9/ZI8upBUZmp+wwopltDDIJ9wKHL+FtSHJudVjWjTteRY3vmJXJ9EBQQfA10m8cMl+/VggQPAF98wrw/niv9YyIuoEs3rHP+NYmmJk9dJ6/Ijy26D2dNhpYVsqxOKCkh0YfWsDJVbrQTlgCHjD/nC4pZRLaZoUY7Sl7kozD4px9HquhlV4YnRX6wUh6faHBLQc4Q7d8qzf+asG+lMCk/Cj9bTZAWNTAl/VCHUrAfOdqzHxBbTi+fh5U10nzc4tO7yQwjRWjlhanVOClTjZ8adWf4g7dNBbgX5uZA9oUtwjCB6kp0TgWRLR5gLyz3yZVsP/U2S0My5F21VD/qmLj00PetuWt6bwCTUiLPmwBxHgSm4X/WVoHpiLN1qJCgM9h/GuJCu1Nnf/khLq/2mx3nGOiXTRwLEnCjjjo/KNZcV2KjnHMQgFHstGDv0lWRp/5Jfpi5LOGWyrN3Odyr+09anq6ZYmYXyMCv9cTGKjYyAhdiF3YRRhDTiHZoEXHzVduPoNvFx1oIsXJ4q6lhozqK6GvF9YkAMu5oDw0/BJCHyssJ0/Se5TMbRWl1U1aOGS3Y/9bZ5rBSSDcVUjH84nYbHftjrHQQAjxP8PwKNgJr++UQOUtIKIydg9FeX9VvQ2Era4x9icOHA8KXxIcDv4scSkZfX5M2Gbl8HMe9Bv0fnkw9tTqA1/GfX9oH94JGV2832so3ao7erZ51zKc77SFy80zuaco2PlHW20HQ4c9Zlp12oLHys/zcZ5Wle6HOZKHwE8GDdSzpjLx2Fc+rOCrbTFBQtsn9KpaGHamoyxQq5w255JYjee8nrDZVqc53sdt6lsP6r7h42FOQy6GNMFXdPVsijZo8l4e9de1a02LbHuwvcB2y8g8mH/dDr2azXZsorrgJvy5fZeNPXiLzqL+TQ3XI30oRYOz0qAQZRBsfY93jr36YEh+MUTpNtHGa1Ro/JKdHae+weYjaNq8tFpNsJVTq1AJUId31HENvGTPcAlMaBAOOHIddwvcWUTtgO2jrsl/sbEP0gAnLnvF686oQFOI5hI7wVbgTdV7MbTNcl/wzPi1os1btXIVRmQH1eThGsFJpqXbcguBW1TRgzzfPZ4r4F3m9FpivCqquALeEx4J+Evbj2cLmv89SN77QeUJaC/2npKozYb6e3nthwAXFxiimz2D0AzZZyAhOFsDAgCXv8djyEtpqAMm+UifkOpZsj/bctRv8qX4S6wJvObMHvhSZnU+u0Vu0EWh7w3LibgmgbFrUecHbhKdhVbm2J0wNtbCTa8HTqdvruDk+BGGFJV+/iZ8TETR0t66GcDVgtX5QH1efIpL8WOwk/FmoMF6cYZcssTzsaKtZI1Em3w9b1tLLfT+M7781V8gnZswFk02BrBGl12ed5CzOTSuokpLnnXuplawW+YaNFEPGl6Aur3aO/pCho42X1Pfh6XlFL2YuZ9ubbSOMlKSwoVAMalXri3zstzw6S71n3CF/dO8NSVM/YjLlhn4DMRWB7oJTQjUxvEnDQ8vDtxFCZFRQjADJbxdvFVzbiknItka+GyIkfPhrZym0e65uuwyMB7pQ5KqVqYhF+1/jWBqJ0kr6oBzvBPCdvAMzKDfcVPjarrCKN/Oy13mjHFfFKuqRJTmVrg4POyPH2dNSJJxW3NG2FMrK+/MfCApVZwFcAvaFXAg9L0T26c1D0cc1slAzrIrn1C5Hm/DDoB7doRZSHch3MBikCDdDfQJKneRasS2tyWtH2HGcYNUTMYquMsezTyR9hnk9SimLNsDoWc96Qe3q5qsuQrPZ6T5chLX1qeSBxwvUGtCD0hRRDcsXrgkMeNf5pd241QEGyT33QjMpDlguilh94UFCBGey0MDllF/Pkm3PWyuYJ3W+oj8cQqtb2s2tYyRIRRE3EZdQlfvLtc+BgbQoJ11RjpqBx0CTIl6ZWtG7jgJ9yq/fu2vyZhE+QeqsDniBYSNGVc8tuS9s1KUTey+mwZvOXwmmW6GOnO2Dg5K1LDVuBbOY3WDDd+Rzee3ksulVu/mb/4wVo3Ghc5hFiy5PHFRbKQG0vXl6QjwFAKZ9EBdkCOx3DykRS1dWeFr4bS0zLswChsmpux6nAgmRF/pmOXfajs59s5wl0wCN/iTXteQvF804BLXqOMDHwQZVXm2ZPwLORmRIYve1tiiWAcCNKFvdsC6Pc0F+kyYBvExravKh0FF3QTYytHYsLpY1oKYGGY4UZTUaMAupB5J8TDnyRQWjSxQlb5S/wqbx4JQ6P8Bd8RjtaVODx19q8l7n++p6Nl7kV969wcBZWAIcri/oMS/TVYnnyIaNeAcM2LyOfWGMCx34qFvc3N4RUUT+D+0WgWSAVB+quop/R9Ci+afRQM5WHV2eOI2E8KJO5XKMSyFaoega5NK2c2xGzizE6/IfiZls5W/iAXB/d2nT4mD1n+H1fFsKdfazdQYVlhNUdPf7JZITzMZ4BtKmHkfKqQ3UVOnkspNMaF4v2q1iLIUP1dAuCUFR820THo36Q8AkhRRCnIjZkD2pzBIWgiIGng45wP4DrZSvDkZnYPq2/ZuqMnj18swEm29oohoj1h9lOFybJqILkieBwFH/kWBULg8h1HFB78HYGgbu1Ka8M7gkRo6jfM9u9aDpZiZ1LmkJyAKsBeqaEuDnS6W+YXVJJyKxzCEmswSvJOtJ8Qu/ZGFK9veYu7nAdzE88yA1QLLkkqvfLz+EVDdQ/A8xQC3alXG/TEHOOK+rvx7NJsyDL9Sb1gU34KA3fqySN2O045d1bQRHBkgxHyx47zf4CcfMCJEt/tjBeVXh61468fSHT4tT+fwpvDykeWdMAZkrFxpCCLq+kEExua25+BZbjA27EXiIvuqBxFSlv/Lja+/xzn5nuTqeJMpqsjDqhohiqumUA0GoIcCDT4berXPxeFBqrl3+JV7o/fBv7hum8YzBlLCuAZmHDdKuDAbZGGX+PQaAj8oi0HlEa2qYA18wkfGazYTn3ZHnvtPWyVPAjGzyD9zyOpvszlyZtirdc8iBU2mNr2nPwXTnhTPZ2pyrGbZXmzu+4g0ba1iJYcGNIEEuJxGtSSWJHDiy9der/jzt4QVqXp0MdsFMXrAphpQoNDtqyh7JHI+IW5b/qwfrViRUZpdZFz/fkkNSEqKqjYmZq4Mbl51phLkZJZ6HNJZ3t3bIJEc/sXpbxz7Kn356nzOryb/cBp66gHAIzZrYKLJ+Qd4MZlDF3Esh7aUWlacHUSN1Z5BrcyBQGbXAevevSoiy4FqAG770AQPDDhj6IFsa7pfpZrCDYZCmEMxvLrA8abvOVO82wTQls9AWzFzehTr9XG+ZFoEkotzgWkmXjKiIEezsUZUhyWVyCeaqIqwe9aq+1eugxwcVstJOjcGGZIDgQ79kdJJ38OzYyv7SM+KzBxACB0PB7goWPwTTAmyiCSRqK142eq63J71UtMGNpKUPtbZlYG9KilcmBHambzvmuwXye+m0Ay+mJ0P+LMEtReme0k31rjcTG2XCgy+7lJ17rAb3pfmQxPYxRSKCOQs+9lNzS8eo6Ix5fmLQLax6KmJGzcbqZh0e99O2G1rkbHK3qwGGOk8NRCrYvO0dOtMYgWFFrs98wHBcbUGfL26jI7rbYA+Zr9AYacCu/vEUbodrV49gUyCsQEDaklWv0IKoRctVfwdXV+d+6pZXos744u+Ljyq3RvUn3qR5PYD9XedQYEUuKgzdhBJQWCK09Dzf7uYZmrdWZ1bMI0rsGFZuH5+6qCzy3dTwzbcrTgLDFW8QfrRWKNzQROhM14CQZDL0BaRQX+spnksf6zWKnYGjpbYZ8HPv4yl6XMM78MaHnrbggkqNnVBHc3mBfK8jDcnPpvyXkhP/iVjJLjyZ2k060Q3qGtIDNI3aIeZYSifG9GwbGv/CtIOPGbZX1M5WFvktKfXqoy00sym3U2LYcdFKl0vV+TmKLCg7ziGSEi9AnIMFDa9DAPbRr2i17ZRcdx4GEbxXpb5nQCsvC354VvcqtOKuJ5xBlpzUU69ChDXnfHQ91VYLL6T5cxrhxXu/uxJJItkMRMKmnXZcwHBZ3/8ObcBVPmMVMIl7+fqiBVl6qj51P6zAmGh2YZ2zlwNczhE7tdJqPXVlbwlWRDVw8LsSljyICqyAvtalFUumDbQdENfDrd9jJP/0k33p+L3J77wAPqCB+FzSRY+a008n+EfJLjISwatPhDdn1A5UdZpv2AAaN+X+QEzIgbW550yl0yhoLP4NOJstDNq4bP6k1u1ALxCtZu12ZIcOO0CT1WgcicrYwyQC6bvhH7oodL+YxwpilHauAMXT+ZKMQECVxkeRQo+bt8ymxzuDdrEsFdO9hJlI9UWSBoRIeLrgwIOVbqikhhYkyING0Tggi10uD9Zcvf0LdpcdlgPHGaj/1eH3wu6Pj+7nH7kFOnzlutSi46LkNjlSXZKM906gv8Q98VPrfK8Suk5kJRum59bLHK+GgPkHPTY7xiKWS74nLIdA8NEzHUoQD2cT2ZhDTEOEMcnZs4s9aYkm++0OS0Wf9MoPu67RLQtmRmz11iMXdjUM+99lR7n9FR7rSCh0+I27gj2nSKBSosu4ubbfY41qs4X/DeT+jOoiRH8MQlNpwMsM6rjPkvx9xsAcA4TzrBcOjeksvbCNJ469//toGNBFDSw9Z8K3PcQuv1nTpzhX1Vr34gvjWOyDHUNOMl+kMQ7RJtsDzeFrd4L6iwgb1nkeerQ5MXY8zsjARx86r4hLecnD4nOE1lukZO6x3qvOSYsskzCVmojxItWnatyO9pfCNXD7jCi/QX5lLt5agr1TSInSg+e63/PojcDrik8OivCjbxFxvXfzbrntcNzZIQnVuT+3bD9Fuz9ypYi5P0ZcuG7W8NtnguynO9GhYwhUFH/neaqKEJZHBH4MJWrf9yrD8vnLEoyCwSAtKJg9UGeYo3jCKObi2YuTb4/UZCHA3xHdi3MvCCbWHN5w7vRLFtuZ6jM2lfBeEXA+bRJnc2LToOREeZLG71aafZUjv4s/iHi6geadJWzZL4D1KjjNuDsfi+c72jHlNab3mI5Iq+MOaJa6Uax9ckp6Lw57VRXhXb0hdGAI5Y/jAKJgdbl+0uBhPdHlisIi/h8Uvn+vddCZ5HZsVlZ+zroH9q6BEPEutioICT/3Rza+DqhptwT0KCCW7TK6hFkwa3Lc5kzFm3po9fwJyo8pxPn/d4im0sEM80KNnktrAT4HMOxK7xT5WUW0yniYcDNW+UUbl5FMa/LMiLLfMGUEycw5QfOjWN077IfveZSm85dgrn1V1ALEefHJb3YuX7vvDMzCWWFp2PeqcVMtHdQofzkgKa07pnj1eBQv5yvbe/Y3t+3lheRJ5IGuZ6OW37r1Dmib0LqeVefSKxoPQS+bK/IHguhPA8LD5Q9vNTn/OdaTzlztikrf9b8caYgYNWI/pyDxxuWac9vn857ylAA7w8HkJkzMyhp5/r3U2roa/K6PB/dHKVatj8um8NKZ28RCKbKp+1PKytJc3qndBd6atCdNgFBQSDhrj+Vomb98g1dWPmFvbzpVrhVj1JEmWKvoZDB9S1RUbxqUYljFx6IFqleSn69NQzZqa/+t/NufAq4HPeCZ/jR9IBHMDCooGnQZO+NXiXvH61TMtWfhyKQJgVUXZV9Lk5LAUiQlO0OMNHIHV2k7Ve7dNd89alsuSCvTOs+aS9MVRQhErZYV3b6l18bZ/Rs7klsOvh9oHYI9iteLI/DTMw0pYO78PYnQ+g8NeRexX6zXGN1xxoX7lM0ekkLjRI9M3GAJ4LOY+y7JoJj13buHwpVGfa7YsLY+HtFtokJVB0n5vQMcWtSMKpkLr1yBG/CXlsRcst5xgcutLyjX/kBqZsGZLjmE0K+sR0HqJSa5AAHBW9OF/h0MajOueOejV3W3cJI6VIHYdy5Gp3maQcBeu0gfTE0PZ750PtwDU3LA/7m/I/yU0HZ2mEGbkx35tVQjvH5n4RjAoI1x8R2eDC0ChTnob1b6jjwxT0txK9LOvgh2z+LMN4xFxaMGzWhzSmT0/wEvC1fQMhWyVEe8u0azKJiTUkP0zJqoGgETeJFjfpeHd56pIMiey2y6J5QSTGWOZo1VtPXavtQHv69noLBslAzLJZ+N3/sYdyY1UzRZrAAHJVH0iJEv6tUdpn59FEalrEA3tTwj9XlTLi7lUM6+DhEDChmXfM5A+MvwH8dbGPtB+EITmILit0XUuUkEWpLLUZ8KV/3npZT6imKnEq+pjX/wK6rJHienedCuvO6mgQSFjvihyNRdUgNL65DpJ/jI4UyLkE1u647sl95fci7OsTUt0pqLP+8fVe+DT5Tkt79R3Z1C65XEykwwVC24SoRKh0jvboWoUtzSf9LcmPBeuYnyhMGhV+0V+fA2SXhw+eqakTMXSo8qw1i5EKL+4XJSUl42KGgJafFfWn0Dg0G3H3XbOAJAOQIpK+ukm9Km9aBBhzoBzhiHzdbh+mzVHT/IOfWa5rKCSwSDKVlV/6n6c0n1jZyuKplpnNJBLPkJnHyKxDermaqs9ElbR86+TxaaKr8uViDvfQXOT1zTqZ5BGLHpn7i8yVMs8KdLysO2BqVZJmX3Lt8mtzx6ySpC9y70RHwOuV1aPF38v9YIYFrOcb8T4uyZj+4uA64FQ3lu/T3fPqLmi5yd8o9EYdl4d8vkKGI1d64wbYBGza/CHHYtWsXzQe27rn7SpIpN+tENlxDtaZ6lwFE+jxaAKaz6oCvu69rTVXTez5d4XggIfFtoVSdvgvscg3TQT3NSokktxZmJSX4Z5ACFN//B6HVOtNXaSmVwzimTnYYQNOlcBxD/idka4a/R33A52Iu2sn/14wdgmwpdlnXZsbCB6FSYMSQgufzYWzEHi2ek9LWYR3KIow6AjUIoBxpST6InijaZNstf7Pxy4yWPLwI/tYpwEP7Txi0tqy5iswIG+Kc1zntyzH0p5g2zay0ZuVZS32o3qfzx7h7wOpR80JmKWM4oHE2n6ddt+ZbuOPhAi1TNHrwAkiEcjTHxSF2y5mpo/MsXC3CnqSo3rSOIfmNkC8tU8OSqmaqieTRc6OTAhII042oOaDPJzwZzUHy57YLPzD4hmeM5um1tiV1I/jX0XqirFEoaACDBFch9pKJPJExNuhXjrrMk/+LJxE1l61I8r8Y/hU+U37OqMham1luNBSlWmVB8C1Ngs6Y3qcCQb67cpDYiTG6xTGh0FmCHiHjl3Aw7Qz9IJ4QW/wbZgHkJ6WS3EVPlG/3y1vk6vEg36N0X/Tfa76zkjDlHQQKx/2fOqzNZzeQItVMRQp/E3PcUNXMFcvJahcLdxIqC5wi+xV/s5WM8feVYe/eRk4+gzSFPaKZ2v1vrIaZdeiTkwRYXyZI5s1/AjwhJTrd+/d1Etc6qDlz+0Ql6YyCeBhBqxryrVQvhTTZQdZagZGDqTnyWfzrZlGnYm8LuiSr8L7PxO1eQxBBdpXrjjG1xRD4nXuBF/BOZIOXs1KB03dDd+R3kHkW1NhEsDpC4NpOHMd+MsN2QQxF4cHmBp8Y1+NSEcCCQ0sdCNQroYhTZdsw55jvVW8KkTT+bwQeXM3Xctl3bP2DmojZFOmfLhhblMMvPj8TtP4a3ak6TpltzOe5YzZqGYT5DckHsz/5ZzlkiILbCSgrCQfNElRMaMXRyw3Ed6wDdHuDvOQF90BRxcOVBbl3bhAynqwpExESOvFoEpBiC7kcoUJuQyB43w0I8hUWr51k9anFhi115LBV/vieM52eDNl5OSZrdbOFgY9MyE/VwXBoVGS7c0CP2M0i6iHhjsWY7oeLLiZKcZK3mqJ2Fc6PbL0d05ovY/0N3LjvO+ukka9CZarXtFWJxDfPOJaK7aetyVKWuawr595+vmdYKi9NukPTOI+KZxdcwrSwbO4F0OqfLuIH9LPkVRwyI5M3/5RQ4mlEbmcL3pN2xfIGLu1hzNoVZnq/hMBPZYc0SvKqYi/tOp3ug/7AJqOJY1H6VxPNyvBWU/o20RoAtFIijJgrDkk65ZXzXAzBm+iZRCi84bhUs+FXIusMwVh8KqWMcRz7rQ5FaOhMK7vrpSMZcBpQkv5OFprj611LDx3bDrhsSqY9BAYN6tp/A87UbEpmFBCZRpebOlK293s7CuhG8ggYY7lyVBwfU6c7Y1K13fQr0mVQTrAlWomYaRr8SPyWo7B6+zmO9o6ATfEdL71j0ZgUTuhiUzlKV1sG/PVpIn1E1GDV0KeHAMyt0NLMRC+dVDjK9M4JitE+BeGRWlvAbRanblRnjrhjRreYxLv96mVTFvA0VSgFnOdrGDt01bXRnaSSUdE8BkIpQH4GjNjDtzzAMda3qCuMjzMcdQJVMnvU2M79nzhMmhPCrCIRXpKYlkz+dRa1cpe7v5SUWG4/GbYg/it0w5RzSFhq5a4FA5zMaGOYZlHXGrazjdtHp7DfPzqgmMqXTlIq9Iilz3dS7Mpl1kP38pkOQSJHvC1QcShscx3y2Icr0z6fAowBrb87MhmYCxsV8JK375JmnOM8dmg+LEdrBjweg7lMY5wIGDMkYsFvlW8lQapCUZdkUIwKOUXsXC28Q4sSujKWCRaHaWK4LIVQ8Qw7af8k8nYorzJNeSk3qqfiVT7B/MAjPIuXRPeYD7QmUTQsK/bPmtU2Ed6MeEaGGWDf8XD9mgqmV5bAVieYLeKZF311KrZyfIgYQzzIp2kQ6c1Zy2oUoHhBUeoGx+79TQhVlYHRQVObN6hYtVOSD0KHWhkpJsg3UzAT53b/WD+DoWHo/EzvZOJ6gFmh4zji9WawBUWtoWVbIOKIF5O3Mi74IPmDNUJ7KST056pW4BG1Fuw0vIOwOwvh8JR6FW9yzW4M8gF75G2M+z9NYU8pbWJIqA/Sm9iKBovlxQdHmfg//6JB9eJDzbLxSw8e4SuI+l6wfJZJIPcZyywdArasD3XCBc/5FqXgerexWFrXMvh3NhR5VpOz0yzJGIaCk6fd/SFvBeSHOFNhzK0lpqCoARqGvPBjHucK/KjP24sOCUB2U1NqnqFpTNYD3LXrUULq/64doYXUZfu/sF/V5+ZlGLRA6U9sWShv9u0F4fa57wpc8ZlpiYLfpxV9wB29U0gjaOTP43rAoFszuB2mSKQZ7AjdQy3XTw1HzAw2e9cQCyotCBj0RQnSkHEswF/OJOpLWLptyxWShHI8IeaCET8nAMWvSsAMLQCA9eIdCLfHm5Jttb3+5mM4BB68btVWotVhj9aiu93VkTdww1M7Q7kk3fY5XnA7HsYxOMD9moc1+fi6J8e/KOS4o25odzm/pEh+OuwvRiRBa7lBKjkhOqennIT2TP5rKjZdgcyjZwvbmlJczK5ussHlHOzcTAo0BfcosLOkH5vcAl1PChQaALpIgVy4vZyLkV7nQ7mGexqmpvO3SOprLZM/oalIWi1fBhqmoU3xjtP37CVSScWEeqfoNAOY0znZmSLg3iPmXB0Dlxa1YUCibxNyvhlJ2r0hEEqoFHwDyLtvNZcnZya7h3dQ3f5q+v97zL7pxugg2VaYTaPsPu9rdzBKOCjRumhiKCDkPi+iviQ8Saoa908cV1A9gRf/26+VfZbfP+8XAAAPysIn7FylqZZYJLSRPlXVJUsfZeia7IryC4QA/ntIz0U4QXZFa0abo0ISXm2EfZMLZl5+e+Bktvm/NB2u1jVEICCFIrZwP2zgnjlzH4AxKh9wl3wDpoUI/mY6A0XAYF+t/YkHHkkLEUS5Qgtrhd6G8aDwT1S3MxQoEMUNyCJBOhi0PAf5vS2c6zN+mG9RAgihA8ln2ajX3iiqaExzy2Jq5VTljYaeouUSRu3drulQoiG8Vhi7oVHCx+eKgYCNdC3Ip4CE2r1DlQs/9DNf5gm5hZN92rXsuc0ZWeDyt2UqEuglxRiE/rXKtBAdq7PYZU3EUv3Ws1/CAx4sInVg9U8jHN3Zv1A+KmvVVsi1eWJE3IQxXK6glz5OGIhG2+F9lgyl/4fxLa99u872jtEd88lERnSisD/cFLV7Cpxq/8PCkT+4QEvbSRakIu2dJHvxI4mBcRBitLdTvWhtYTqoOiQ4CsFOTOFGvHs3qHLE+hwxvSMtMoMIeSmboMohz7s5A5560pBI3wvlnrvinC/1rrO9JO7Z6Rp5K3YKJ/JM9rEWAn6K+xzU8/3+aqrQl3rXNJjyshIneStofDWtJczhuDpRlQkRjE1EoVhkJNpSUPvTkAktj7ViX18zwezzWjtCHpzUSpRFWRyyVD3NVQw4tUvTGoN42BNL6M/cSiMYMAqcB5CMwWZTzqrNgeW7M4Fn0OoWT57Y2iKea/I16zgblthCcuzalH8OVapazTkxhmbI3DBWg2jUAkoKWkrNchipj11qMM1MooKDbnx7Rbi/6wMxCo3pznVJVY4Lc4Uwbl+vDDqZ/956ZP3NkIOVX3LbkmMQk2kPMXkCCebmF7ino2+kU0+4oPERbBLmH/Tw5sFjdSLT/ZJcJylZHCejLzRo+bm9fhIIaQ7e/8vxnTlto+OUAaQW7GxgszsZNdzuXzbYpvZ9"/>
  <p:tag name="MEKKOXMLTAGS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lIBcj1AhOaglsfnW7bJVNy+Enu6UK0QItpF7Lu9UORcZ4SlpnUax+QPfM/lwFPHVSHxaXXiOwGJHivZNfu3EK3IuS2PnGFcrQto7aCqTO1ypfEMgTPUReVS9BsV25ikWqDqRKg+mV6HwgncixvDD8HTtGZHyEpTAPCLjjcvOgb5daQA/swa0yE+MUHferIGtuiHQHAfYrrPp5qXxQU5FNFII4RaFTwKiHE0Qq2+zWUCGFSRUkUROJiKWgayH0tLInZs2WILj/jfWKtYP80+9zfILe9ZLdE/Els+OtpYw5v3uWWZPrOq4ECfTpDmGWg/ZuHJ/NkmgXBVgE2BK/WrCUMh/zknvp5YDFpiFPVsc2CdYZmQ6+ODB/sycWjz9qx/H4S68yXpqzkRTKvs794FUb0x1rEyicu5IFsk0jgAw8eybbFqKCaTRMSH9JygYEbH7dFsG0Be/ck5b44FL2pZJ+5JufMZP6kd+SC9R1YjcS6sHYn3z5ULdZ9heTdDHB5NmkQ3GbohIQQ5t/GtrPdK7e/SatqMFCEty532K13mTo883Fd5pYJg60JcUl0kEosw7G40sX8Zor46jwdRyCIEdMes/GM3Gc0D8CpZvJoopyNNdHmr1/fYs+lXBnGT7xWFOJy8cirVxCwHuubhG8BtLC1XAdUSKj31rx80S6xygMgqfDd2sFc/WZAr7jxmtGs77jbh9/Lbkp+dmNMjuzox7z9NR2fFYuVOQeK6nSkDq3k7+hOmkEbUAx46vsOr0el3xrXNvwIoXr1qiqTOb4DVzQZ/Ou0FHqD+RzwffBs75I+26/jPoawMMG8KhDpsvupuADhADOFlxBJr5IlXglluGnrFoOcymaWWSdlcJ0JvVJYaIu5XtPDM9IGHuhaNcreXfC/WULmTtAtJ23kEA3FS2tzvP1MqZNEAqCFsvxY7S0/gzVfoZZti8EK56qJvCh+NilCHcVTeFfj8bzgINd5w3jxZSF7KLxEfC4i1OkaYwPccdf2Sy5Gc3Znp28HUoysO2XGDWxEP9ALIdQ6U7JVeJ4iL1WP08bQ13YVv8ckc0el58yMeyWx+tsCF+caTcsXcVP+4NTlUVRuztYhsd4ZlJBWo30IxN1DZepH7YQB6WZTBXvAR3Ui5oU2VpsctFsfqJZFk6yAaEKNTVN+FeHu7J8gaLBILkiPcDIWOaO9AAtXZ2x4Q6eG/smlrycjWaHIaflNikjLrneFjS8utFATfoK23gmkm7tSKqELDMwApQytNM5UsOTtdwYmtnl5vmTDkod2Mup2c95WwXKRiWsvW6ovKXHLmjQETcPUDFl/WSzowRCE62XAliACFZWAwY2QVkQDihEi8Wvlc+/KT03IXw82ogFvHJzW8owWRMjgMrTu/m1LD2lB2D7Hn2wo896Vd8yyVc32+jKrOLIKndtzsk7XBSqZVyVoICGe9uVj1u6iNHbZO+6H9swLDd2tIc17x+322KjFYP5JQ7FSz5bTgQ4J1L/nEUepOJr8v08Xzhpblha0fjlg9ANcVHK+2CnKvJCh4Ki84xY2iCbyc4nBvuljl78q4mZFdB05muI+EAyBOwNCTvYnp+fGVcBltFpe1vneSNXwuaBGlP2PIv9F3OEWEkXkGNxP++M68Bgfa2N9qGXZIEwDQIWM28K1DC9GhoWsEym4KZCzVfAjxgcZCkmc+wUAuwSQF/CkWARU69x9BqMRPTmcxThgRjDE9gM3nhh1s+Gbh64ZL1nZB2Yy/yBOAKrZ6BJ8Ny/QZGBzXzZUQokkFLvg45f/qz2LQbbTHgRlq1h79qVZdB40TVouj79yrw6h1ltLRoamr/+CGh6Vyn9AS4DgxseCmOrgK/7nebOS/4EW0vDz1DwpO3VtNcrIATLfL3Avvy83qrv+00Gwg7Mgbai20t+FRWsm/6GDtIMRmKWeoQ/ypLC/TngDeLu3HmpsQKxZ1B4YgwESSwgDelF8HhoJiajCyy6xKCrpBdqLb91b3XQLyhjkshN5OGVfvuDrwkefsRu+Jaa1yCzn4zmhiPg3+HErNgPrL31qWxxXLd4sOzJ3Oh7nO1DKNbO/Zhdzr3Rcx19uyv2kF6WVTXPPDldf60SwD00gCwQXTK0tPm+rTZXzIl+/otKR4kJFiYUfOdHP6H77AxqGETyAOvaWJ9m9HsRkSDGvoA4Nlwyc76cjzB3rIoXOQfapwhxMuT9eJZuftw1WYIwJHqyq8PZFLxLyOyPWLJcOOGGQYtjSPlyXZq4tV5Sr+GGTj3asZDB3Eo+LlUOU8Xm6UeSn8CPEzJbbu4gNxWmtxJgTZZmH5hiByED64WrgNXS+fpQeSTUy1+RtAAmCr4cpP8lzQoZJGRI/fy9mR34q8+Ma1G7EdNm9LvnUs1oUgaRMf4k9xuSW9/Myf/l2lIoaVQ5+5Y2uykM1gQm58mV/iIYLP1UTA+pBLrpEcj+jQPKMUbxCW2cJxWBzK4w+7hRf8qUm3X8k0P0zhd/98BcbucFJ4IwvM3o3th8Y+obqO5nJi5C+5mtpWPuFx1OJONB7lj/Df1n06c0HB0mqe3FQkRGhc/XbSn347RngCfwvfYeOGTahGbdSXHgXbLSUWDnDefgQH2Mglh3YTslFFp9zubOqucv/CiXKEGgtZMDkdaJOp25rE8KB8EL+1wgxIpnmUtRzGUP6gl/eSHO5fW1UiN2CGY6Wgo+ObVPlzha0bTiiAmaAoCjROTfVgO/OPDgi11Dgd/FM1P5Ran5DR1LTxuZG0wCEheZV6ax2aDMyp+IFE+xDANfTM/3ijkbndYPgC3c6IoNeSN6cVSF6wGFLmdmCRKVlvp7XSIx/Z4cHrAGd7tCNGi0/aU4cqMwf0DEcu6HKvyY+wzydlI+GPM4m0Zd3gjZIrIseo3ELMEQt5BXQGhOCppBwL3uyzTO6/vjoEmg4ZC1Q2dU9c0AuSPLTxZLiTv+EFbJXrXf09KP/5ndQE8BYDDihEuLzZy2qjury+OMNenBwXEl0mJuyjB7RY0myAKSahXPdrzLA0rZTJxH9rfzg/hfaUHF8ViNfVaNOJpumw+BJaDqM4ePKqmfz1brmHec3GGXUVHbdlklgCTvXEbbQMZniuUSbqLTWyZmOLT+ifqPifn5bQW34KkyQEOczBTRNG5w9/tQLzRuWD0hVqcJGvSN8aCZqamIrB2RN31jHioFHzvRo/crzYWrtZKE4liJOJatGfDU/4S4Z4jvP2R99OeQ8xNz9QkHxApIf9UfVVd8dvu8Ku1zTAXzX85l8DAfdBEGG3IeHHzuzi3L8dx9lpTSraXljFYa6eBMZmYnbuVeQV9Avt1tqI3gCWHx8o+c9wvn175+/zm9qv3JFpOdwyGk+ZeSMhmw+31GcdXQHR/rSnVgr/T4ZlfdSPUlltBhwVM5vbf3Xs0KmhrSibN+Gon4Li/8c32rISrAFtFWnIcTj19BydzOTGhWEljUj0IA7LRvaL/Y0yFtq/ajyzRadyxNYuTRvHJYH9PqpqVXqf+VlgtGnQuaJYlMFs8fqf1E+WCK0gSqTCwCGIIQwLr00pKmAJU41z2edCPWcF8S0c9oXBUS+8OCDqzD413b3RHACfygW08xZQhQMnFEasYE9QTa7iluMm1YEmEO+C6Q2u+IPfE5d7RfCEhZ/G3/1YmgBPB/xpYHVOd+h9U1bP2VLwb2v/bvzY1iAQNXSInCBCXDyc//X9ufm9J8jCGzeBg15QUzBh3Mnb9Q0pnJo/SJwRsoMZHjJi91onViQFCrr5gW8i4OAcBNMsGn7BF/5GXSFANistAi70RWydnBPWwB8Jupebc988J1qX5DUTUmS5BuK45MGORvAttUm0LalnbXFxulmPcmHqPHaXDT7lBp2D1BTFBC/3EhdwMn1y2c30Qh99YetwNhHbKQEh/jM6/aQ4/EH1NRwCMJO8pmgLe8Zaa7Ts3KxDI1i5mfyPm1en1P7OdVGj/Up608ezypuWfr9gHQevZrskgTUKtYMM15hA0Z0c/4edMiRqPiLppvH391WDtvl/aA3YTT5ygky/wU2kVamTXT9buTfn5skWfWWHduFbkZzGqIZP6i2X3OtOVKrl9dAjjVo27r2a2Ri7br3+bDwDHcEwk/BlFxog08Jge6NNVKhW06xCPmThik4r1JErJzmlYnBWYiAnVNjn6IjYuXNjkIu1HFgJ/Ir0HhPI2FzrFH1MRjr8SQErR5q2Js1H2+sNKgps+RDhY49OCxaUDMi2EIbfKseqVP1fQNx8qIatK1qDleZ9eW4QjyGNTan9EqM19F3CuW4pMUCJHij5BMzUa1MjlAmqUO3/XjRbxcx2p17vA9Zevv/fH/wfazwH81AEsJHVXuWlNu0PjOKp+jUOtg47AMMPsBGZWJZbgb/FbasPLRH+uKb1QWEGhdweSOQMCspZIRv1S84K3H5OmSyylx43PlZVOkr6wy2OVzx59+yyrngyMV4ary4LCZGBJKUhNRAIYtDtxQwHC+8I4VFA7Q0nDgEEBGibV1C2z+ItS7whw0IRrO2D81yZJfBdd62lqB29lVdVGB9SZ/8hVDbdVdv6pqCxQ/Xgqp3aHRFpm9/gkpwwUGuEYLx4ppluI3KVp5UWxD2ODyq5fm0/8zYr0PVMKzMpGVsvB05lq2190xRzosDC3t6SmPj2mdSeBvztQuxOe0+npx3DZ42TPtRIX6S8N0/HbVSXQCk2Ns3Vz8iBcd92VuEzH7yqTunZ5uJEI1FIZ7/uDROeM2PX/+K5tvwSbLy60/5xUAdFH0vTwztvjdXzznnn0zAxchvwLwqiT8G4En/mQ07wtTRLoab+hGEOVywLxJfp5dCYDCgkUArx3wr4maDeVne2jMuFKMfAV5bb/wUg9dBV5k2axQimwB3xRo2XXk5UMntphzM8s5evBqZmSqAEG1ouZSaKjatWe3WXa2xQ7Oao6hcqYTEE6uzUnlGHgsGYakVCK0hJUghK4Bv+3t4AdzqHE51t4cDGB+Dt/g4B9pSZM5AfbYX6ijUqFXHCw9fZ+arz19izuU7NDtD/R9n5QgEQBJDM+guhQY0E9YtYBYzaQCUpIeD4Yn5Q3AfMRcJMzMLNiMUHVcSv6H80l+j4UrgoCS4/22OAL7eLpSNqwt4vOc+FLm8jsmVyCtt2YdKe6SwmEGzLV+MCo3TI3BLqJMmKey/Gup0MO3mwvjF5lKqzCXTUEjwXPRXKUTu3Bx5KVYKpTwqbZZQ0Uvml0QZp0wUCMCU2mwdnlhZWNLqG/itRgMd5JEEcPQvy88hZE4t5KTLyMNTDxa914+PY/ep21Vt49vyEI0hXJdbm4V+K2svNP747tl+Nnfpzx3kyWEaJWhoSCuo7R1Exmeq4y+LRqz1gjp90+xqTqRbGM8OUHzYdITwWYS9WCzUkRHdXodZJajBr6Ldrx+woaZA4ITW7rTxB4MU19N69Pb89sQSTzSI3EJZs94d6aT+qmFDF+WZwQbupoO+Iv1YsNWHGOrYwafsNHz0nVerAhHBSba1FQMImJdTgI9//GFqSWYRfkpri8CpnnYDGFEBxH7BewLEcjXRZK7lauJAEe7TIVM/DLzjFJKtSGkhR5I33ufE1VrtsgoZGRE9akl1MOxzyHy+4lUQfahVljacZm2DqBEcr4A0hguPZzuYPQFbA8P8moX9klJBxNWF36Kf/8St+0KA4WVPZ7aVxoo96LYNZ3SkObaQZ1F6YDt8JMbZLj1M4Z6tATDxkvcMxS5/EXyRDczZA3hE8D/LmSBoBDe7bSWl4Kyv8df/mCuSerqk5MrdUioQJyNhYYpV/Q21PLsZMMtZTaBGDXiONbN6M+LBpk1abuWhzA6/6wFaGILiuS/9WVVwrCWY99SI7noO/yGtmnrJuaQr1xvoOTLlX3LVxYLvpj0Tyok7FwsPzoSTRf77p1SBjmgjnVYyTUGH9ybO2bgRiiUTZwCVXNoSPfxuvqLMjroE29wXFKL9hGN4LnvqVi93XdolSn2E1JIx95SdVl5T9lX3g/nODbewqde9j+GeTcClPjBpNLg+fS/o56CfEIbDVTfrg/5RfqbHnlKcVWkFo2hQi/8q2OwSIPA967JfCyyeE3O/0i02GmTbL+1msd0yLCpwZhdWmNzGe294rpA8HZqoGfDvknJ298+gvZZtInD7lskLRZzqmjKvPclotRb6RkB5HjNiBy216jwKBPvqBE/6h/zWygEN8U/EhGjJkWCD69dlpmJU42cIrP+CNSY5F68BBczwaSMPLk0ptZDO99Qr6MLRSLW/VTXZipmNnKFSX6rUOhEMFdCe5KH2G4vcHRxhWlep1EIK19tFcNy/1PYiL3UpJ1zeJdpp7TMSBB0+jofSoCr4zFP42KkLu8KZtnwOyrZOymLoSbL7nl1LjWSujMyYHtB5aDn9+Bjre9gTC+mxgVBK0v2spJ6KgzL4eC7Pt5VNWTxET/bHM9/SNFaXYPCGR8myBrL9+i4oKXtHpepFtAXmUQSep48G72Cw3cPZaSK8F0kQaguyumR7K34f9B3L5XBXHinCfl1gVGXj7m3eynTwRdH57SyHHLugakquiibRjw8qNZ1GlMUAVB+MojOAUojUDWbZOwcW5BCk+ONYV8Fw2/FNFmaoCqfod74lIxhKwhxm8ZZzwwLpP05rkhzz2HvQ63HNN71L2ufuqEveyYGdRf3/P+SnsPHrMZJxCSlw1lonxhjN7QS02FS+UeyVlWKSkxwjJdd+B0VGPtvy5Rio39ku7+JmRIIC0nVva7d09hP868E5V59/fDwBr2mkd5qohZIkw12bz6zUO/ID0dMKYvLWdnSypPGGP4J6DBvoxWDVSMMmyVJrTYmVUu11mMcNSuZv7FGAAeSMByPVx6MuQi/9kZMJXKI1gcASd+Ow4lGrmb5n3nGh2Kw97ZMne5aPUZH082RNH7XqfMhAMcNm7/SVRtSYVmYMMcaraKXCAjRCFW6/UjjHZFh0+xYnbgFT2jtl3EMFE5+3DD2iYuWhC931z1G8otlMizCHcams1y+5r5mhM5OJ0Q9Z8ueSrrFzIRsoHooibGkAjVnu7ENnwFFyyRWJaSGwtKHEbSIRLNB8abG0hSaL9dpkNwXxDL9vlZqtgaJQpDFZqmKUbOTD7frJVN/K4ih+HEF6nN/evApBcJcQAMWwtoclICX9WBgMkuGU1H92jKvXhD1KsWUJ0PmDHgYNnG2TKJk5ZwAzw200PjcQAP3qdq/LB62tuw8wqbHe3WYCmT4QEVazX6Q55nW+bl1J0BzbgcRNXRYi4xXqabsK3GcXFkK32fcHW1jrKUURce6DrFYQPZXypnlY65h4KogAd9JU6EJTucUFXv3pLjfxU49SD9aIPT5bqrISDvQBkDW9aTGYP4u1BxkmEDz8UhRVHlIrM+KdBDfofsB1wKibYb6zYztLLFbNCwYfmA0RFo6i51WUV4ebYkXGApIbgcOK14AA8bRKtAKtJ8KSMyT67EVilT3XS+nN8Kk7ydLJ0nic3PPAcjFsRODWy8HXI6lKcnPYKXIEQln3iv3mibk2SfHJR/U9QgAotqL6hLd8W7PzyBjrsmonXMBa6nkrj+7VWmTIhgKanXz8/Kk0pe8YXYufgypE+A4XXTO5ZsPBmQ5zT57aIy4jblmbG6UAYPsoQNNvolmaEnuQNUAfnwp9yG88+LJi60HC5AN139DiFE+X4TkEhja4W0JnZZCTAdve/IifOAc7f2JO6LcIXKBIlp2x58gYIGNL1i3Vx0JnI9bh5Q+2jxysWN13RDmBsZ5sjneLfeSbU5thvI6bgm/FfXxH89zTW6lZOCqqQ5gDLxCzWJKdmTYo2uKkvc6d2R8NZKLcIfo7+HQ1DriWIzgUscY4KEhSB6y7Sx13wbvXr/h7nlVbFOyLGs4tNzHf7+KYio3gpxnkN+r007Eu3Hk+bpOkr3cG2CoAtAl3AGAAq4RXS8Ny9eLoJGJydfyPM71CTo1QSabXgGms+DU6LUk+58/wHEUHybsw36aT7LvV1T8Dkd3aDQPZZX4R3qcRDZBAMDWFQwqnxod2Yz4XU2eYfpUDJKMJ3YQprBNrmru5sgBd7XGgP3OibQOlJNvpBNmGhkMli+BGKXKLd1qEfoNGwkWmkEPIN4Q6Hz5Ni14bWL9xCwrPrr89FIXQlf2hWyfOWLHOrY1Erx98kUqHjkaGTVK/GhGFWjsKk2vuxIX7XJ3riweVywo/VhPCuqG+gD64g7YpopsPrLkwgRr8btLo5fs5MCsYZaPdE9cygh2y8n65Etcj14PPn5WMsD23hO7VAT6LeDJ/NFNDM/FswYnkWShxbBRwAvQ1an+XTwOifxFsNZLhB9PRARjJjQs03nm3nTJMM2NCVRLzPWhEbwrNvQyokFRcD5brtV7T/S9hylhyZcB3qVhs+1Z4M1VoAPbvP9p7f6khA/M3X6cMidgCkiSLIat/uAStBEtOR/se9FAqIpZ65G48mDvcSteYsN2K3v99fZAQ8ip2pqE97a6HcVHpHIUJ5PaF0e+Bom+UgVYImbQ29DCMoY2rMza3mcep7+4ZV+4BCVcZ6x6N3kmdQdZQheKmSkZkVq/UVVWG+k9VIHxn/rU+0/gVFyJ8f/yA6XXhzX+kkpbVsXEmEWezocFrhB1I9zpAiYLbLfTe2/qrVnsRzbEDhMg/NgOjLtWin41BAg7RyT5d7/LLJ9M2AuoSxUzWfbaEXiNzuYjdW7Vef4BRBLfkKiPgXhJ3YpNBimFrvVl5ZJ0f1BqL+4bsct0XuqTLG1g8En+JowZHytJ9Y4FRENljqiqNqNmAaRn9Rly+471ToNTcmxbUYovNh/b44F5e3sqHg4kmg7YC4zjsSZl0V95qfFo6F113g5nRaEOximE0KY0hpSbZB+ADYHw/89jIpHTpw9k3DIwliDDWTkxNBqXhzqBxh3Zw/tVwGRPFhkBQuWGtnswX4XKNCg59e0qdp0x6A6Ss5PRLJAq3etNWBVqrencShjnsDTqKGrJXbYmsnxk0/jNtS+MTPgNSbheaPZqFUymAD6HfRk8Nd9uIXAm3oarZtoYcKbK6uo2HWqvD5OLh3AK63pSEbyrlIQtb2IHcs/Syjkvlx6jbbn4x+k+MZLTLg3S1cKKhwFCzP7/Qd08GNyUqREb8KJ2uNYso4Re+mrquQRRlnHTcIFsA2rea640JgobM/ufpEfBGLt7E39gmw9g3LMgtvMiNlaxoIFIjzgBx8z1mDYZM8bok2l4c+jK/yEHA+4z5h6eUhLMa8OEu+LFQbPohu3HVNE4gOXxVLGzWqVdRVXDbc68IZJQiv8akqH6Hb5Lq+kT+qW0aLlPXTaIHBsRUZdPCVQ4H52MrVF50bCDUNzoDA/+2qgoDLF9zQkF6Ucf5tDIWrVtAU0aB03h/+o+2OF9bV3/x0sMXKklMRj32r+x0ZsKx2IEk8fvXLlKrWdbwzuHluIY9r34KY7jBjcHAfJK6rPY+c2+rKf357KVrFrQiaLSGt5Cl4NlkDg90FfcfXN7/4iaEjbQ/rcTZR5bxdbUocbIisz7hyIoYgp3YqTwpt5bQ4wc9jJfPJO6fWRB4ba0t/7ICxEuLatEgmSJ7GMd58ELzo6/sGAcEro3O9TqM8F5SQDJnMHvk6A4EzwyGIdPg2WR/7MDrbQnDvuJnbnmjgcnoRDo+HNWYH0ttTFQ9ijYAUIlHM3xosDJiZiOJfX0mO/WYrVIvnzPWCgPja7ZARGRReL00bg+iHrxN1w0LuJJbqfqZoJWqJknQPJ3tCl+kk78sYkbO/eqZQEAUXsVlsGOYkKXWtUzgmymByeAlqqHkU1aBooAT21+qloAvwZePGAecY2NyIn/l9tDLrf/qG4p51fKitDmnvV6dRMTRKajQDtvorS+XTqlt29I7T2obiGB8cbxpZ+5eU3lPgmPomsaSeMtU9nz7ERXQF2u+JnuJnyfUAIgByrA0LsSaWXm+nTcNhpBXfa18qqEcQZuFSL5kcUNojlLiOufn3xFnzN8rYpGFffmDE1PY8Ry9xYTt8vLUxTnJMHIIRy6k2EUQ6wIKl3FBYLrKU8eHDJvnS8aZXt/6V/24r13Zxk1yIfTWetN4GPHmY5weKlVXBwyRLCRC0dYP427gmRKzu8TTc6bySOpxHUsTH3+R5Sn+xtsHVDrEOZMSteGQDRBLaJu3GBchgdVN02T2C5cmp1u3g9mAqPUQyZKYndyDBAbTwfjShywj9mgANwLbep2txQMf7LKkSliw+SYF+mn5BfsMk9lZ8w3ukR3FmdhYXGDAvRi9QniMkw6TBbtrwRlAYg2bvC9+lpD1feShRI2MjHPCvHSt7y/TRFIhSKe9RgwA/dCKxCD1WQRT+3CjHLNE9TeYfgde9kxZR6sOa2Eu0lTgEEDPDZdw6WGYuJAJDQteWr3kyy9xbeBm8NLTFKdkrKLPUwWqLY1YGJ81Y6Q2bH1EDHQCa0ACH7+rTYn6hkZbe60ryRUN+7UxmytmRgIRkvELD3GarPXciZxMi4gbs017ZgqF6PLB4nQgp6dj5AY3IcfFqaffBH3bJ1ZcipTCXutyiCX86p0200Xmb1zx++7L6x20Gh4T0wYZe3ju6fBTcGlVTW7GRUixd/YKpdkJGCj+hkGch/zFKtW2aeYjHVBGBz+mGrUa++mY1jq7XMCbSypq6g1gMR9JrZlM3FvXt5MPwXAAmEZASUDTEqVNPaLTgVYfAjQA0efN8HN3QKjBUy6wpnNj6u10HQ3NjxuIrnlznQshSj4sWuAXO5Tp5hzqbWeUpQUXc1MFS3obbPfKI3ntPU6rM1nVjDy1/WKg3egIb04ZxB9YBtxVBpHMOfD0YkKQcbSnqbyOwW7k4AXJGZtbXyJjTm/Av5pgN7ppjJyRysIdlia2HHyke8Ly14AVZ3vpeYHFlrcW88G2Gj9MMZutRri5qo3eforXfo+XyVyRmLzKQWGuYBNyGCbgmGr0pk8aW5u7vJ7gHmf4DxV7qbu1Ga043D6tZ+Y+J7s063lwKjnwNO3c905NMceMilFAzs31eeKrzdMS3mHJFpOaU5C/q2MRnUzgYYXk4bktbOrNqhh8RcPPV3RYx4HB9WcMgZVqKeNuMDlNod59xLN+ob8XgbVnP1Mad9V45X2RrnvdxBf/HsHYlKC4wZ5xxTRo1/iVqBpvFlsXxsnuEB3wykw4UHnoRUFzPI2zQfasMYbRt1LZKunX8FIrI2lsRbQIBai7cJee7WBa3E9cApnqCDx/KCtSF5mcznb3QcxYAZdewZUB62YuLxeRUiVEQ9ApvBNadEWtMDalS/GjhvTgCty0B+KbyzaYjEiyfiEOF1Gm22ANgyOUXYBtijuj+RTJlyNTIfHINT9dN1+Uy2ogFzhIeZjn1G/lOBnzq/v2uew66VVviFd97OL5wXwZNYtujkAEyiqOHU/Rv0HjcA21yb4Q6a5M6QY5rGRHliDRhD6Ppm94Hdm7B6gsrs5l+3ofqpsYL71SH6qY8xvtIP2wIkyAwpxgGr1rsjQ7fI0RyzeA8ZQnsS85qii6Au22tvMdP5cBXYY9gdP5oEDxl5dsv4YRssPklADyToR+ByWuw22/FfTSCIvjsuhHAOpJ8GH7Qh80uvj+lzs/2ODVw+H18G1i5PIObkhY4gZoOpAvm4Fcz0lKdrZL9zbdZdKb/xT8Wxc7BP0Fe9Yb7wx6UCfv7kjsZZ3mnMJzERKBnQdVD8jdTtJQMFB5HyLYZstxZLjGKqhg52cgZPHtkvfe3qXIxtzl1iiKhiqUkBHh8D0v+naNNBnkDnHuIgiqL49MXOxw1HAG9h5956jSY90Lnql/qnUuS/v4HbPhs33jQLHmrijPSu59gA3DiEtfIWAn1+7EAV8tIRJC4tqYqCNHKYnypJ/PJSXWmbIAeXhFQd8kdr+xvBFjJF3B9/2lMMinJLUScb2hSKZMRH+BPyWxoFxBMebPXZybo0h8V6tYG0plkYGX0829vfo2g4NlLgALEvgqetJYkN5Fm6GjGMLPDoRhlb+BxqsKadmOSqm6i0XS/E8+42rlB4IG5QEch7iNQmf28NmHjWDCLkOgvofkz2fB4kR9L8BJKv0kfm6m7khWeq+597m3n0mc6p4QvzPnu7Vol0bJnpoEbNtGEY5VrGZOs3H2SLZtDrXbFvn0C3IXra9o4tJCFXcjQ1vzlmWmA/aTd+moQl//uzzYeC5jPb1DdJtOMORwgbhXUDWe+Ms8S2e9sr0keQ8gH20lZ/F/ZWuPPcOWmwefpiwRBwlXD4kgsnmeaXqStH2ucewnX5nLMGRCl2++ZByH5HS9o7QEUH4cs5tUMwn14JxR2YdJhzCAjTXm/imN3k8z8uCB+uYPgLKv8DLFEDQeXDICj7yl2q5jUXMQ92JI/mN54hBAUZqDOruQz9srpysSHS6TZaWpl/VdwQq2OFHoXtq9C8Zb5RbyNlfBkg712u8tQb/d+dP6D586/jVs868OMj466oKK6KAEAgtN5YnnQCP3x8RKkpI6pAWR72EYeI8nQ9EcQ6aLSEnwdvTC0gJBFJQDGNrEpeS7YUr0QWNE5gZUwC5PQF53CdCc+3zB4oqNkflef3SBN1NbWYUT3TZE5uA+9JK68GhZn4Tmi6r2E5NCi72/LLLHOjEPujRJpihtfjj9MebCr7aKDQVLX6Sk4n8n1nwXj0lH5hFvKsqUxcv8sctV0NI79jew/c/1+PzIZI84Q0NGHLJ4PCxp4+ZGPSsloYzLK/I2X4mkTPT9eEIzgWYdRpy5WV2Yowp0THtHydi25scZyPGGIPmM2fXi89Ly1TRvNQ3fa8dcI4Q7lmtU041kBFsOyqEYRmtgvBQq7YPVfpOWXVHqN7XN1wDLGZ1rLP6BkuFoCzi0zyc+vKc+OxaZCnUvgpil3MddIR1PHSsnmgG700SoJ3pwsdjFchOanTQFZ0zBR1HAWCmcbfjoLOyz4JItqO2rtAv5DbLpDZUklIexhkoql6jmXwQEwZx6NexiNmB0KIxY2jnN08HnuZSFEpbPjNe7BLIgU863Dcmn1ZNAqo6dJIufi1/YXlhv0D9FTDgiXTgv2GQ88ab9mpPz6XjQgujxDcCssQNuZAhPizbeD1klTkhPWOIjEi1vHcqDlJroH/2DjWqQFw01znZ0CK4ogCmn2zfSM+EaJN4y6AW6qUy9OzDcsif1WRNPkRdMr540GqGhpZXwq9dXlfF2orSkSwl9EjmUdBib84VMTD1gW2PehUwNfW9pe4v2XNBcP/X+0DXJqU+zrY11e8TVc1e9ZIkONT1niOMgMHu9JKR1okmSHpSm0MDkm6AWMOM6DaO9J0T/hbtu0X0gb/w317kfTkCp0kPCNZU2GqVFDVlJHBPzihnRGeWB0thqmFuXHMXADuBpM4KjawlgomB5sXwgxkpxoaa0vcVWCpxWwESnPrWp0fDVJR4XG/l7iR7c06ZilOrnmN9pDzInkbr6hGV1USQ2qtuEzhSBhF144N4F7lRc5S93VKnHz1Bq86xAJfblWidGHml4YNtFyORetgF9Od+eTQDCFW1rlaCc/ZoqF5rxK9JY/gtqucqQ9ZQQu7xmGHtaDQCLFRSUOG0vj6WB4BlnJtFNeACYRaLpITPNAPTHo7SiFxMAVHWuKEd9x5hbCtw6lpQXeXfTpU2etsZxpyv+1oVZRLDki72+z4jyfHbwco4oYUf1kV5a2sXXu//IAgVj8/PpGeJCuQi8Y6wftgqwwBZP2klHO4ntOt3XQHEa+xg/fliYcQIqK7WFx68sMYxnZtnc7D89sa9dH2IPKQJ/Bklg84FgSS2e1T55fLJ9yvYmiQVqvD1S2Au5Sa8Mrlv+yUDQUVLGFJEpytC10dDwrlFkhfDMyTNX+akU+crDdU09qnya57daZYb/Ey2SJQ8fKuXGKpVUptgiOJoWjWcU5WwQ3x0oX7jJAMxToMlYnpKcl6OeYo94JGNGqyH5dF+8qDeck6pCCOXB0gXS9ScDsD1yi5d8iTVyG8PonJTjYz8krQxY6G3hwl7ARWLVpwjJvWVg0qKSidvD4A1/F5RlFIHaUknsyWbJ5yLYt3D/snw2qQ1e0/No6Sl00Lwv7b7zw43SdeUeHyO2mRaFso2O5a9yNgpYS0PNF4HUcDfSphpA3UD9H5D6k9Udvh9LVftzwpy7hQvT8V/e2jh1syrZ/BMHN8Ozp+XqqX+OsB526pjMFnG3/0nvD05u8QwZV4LDEIHADMgbAH3e/8VMlnOjeAh2SdUtqkaeg97b0ukRpVBVNk0JErt9amjIhX9nFWhyTAwcXA1vu7rqOwpIR22L0IsKdqXXPln89RGgwsU/QpQyAnDGKHAPSuhIqkXxjLHlfqDp/kcO2s71F4Pc+nnyO0Ec6BbQyjUHjXGRxYY+a/K5PpANZSEbBC3mMte+hm7Bgof7/mmjAvrTnIHwgQKe8p/CT2B3mvveJwQv7CLSUK5UHLTab9qHZV4HKSStHuU8TU9bxEe34tC/uH+ry7EnzSDpTWgcjTaP2pYWN2J0jY0W2RzfsvB3JzpPusW3NCbF2MiOEH3GnPgvG9pdCpTPCm/gKyw1WcNRcqTLtQFquI6BTZk6ajsUS3zjP81yYBS5+nRgusyt8mIkLmt7LmzwKVGmADPIGwNjWIWVpYgttIdrV1FDl+LX//6UYSTD9MoXj2lzHt+wP+n7KC7J3GIjhOLWEtu04am7osvxcRMROF5noDFRXyq+IikF4a5UwgTJ1xgFze86htZK3mcZiwDsMnxNUscSIVN0rBVncQzJ9I+y9G6OPRQ6CuLJVBGJPPXvZWFpwN0tK8LuDJRUH2u2LHFLT6pwSbEgcKyJHk4BiqtytLiivkyjDnxkXC2BVO7eyZS5jLHYzrYaWecD3nwekny+h4WVyqUcCm4uAlE09ZFCPDBCjBY4O916cfxw5qkkAh54qcLRppQaqRuRoIuwYp4DphPTXBheMm9SfW2vJe41ebcKPGQj4+YjLLM6hHfSEQ7JURjweoISQOABnMcRXWLwpt5yB2TcgZmVdcEAqJtsiK+lME0QEq9LFeZsrYpEypiZylb08tqBtCS1nl1BKyHV75/GpWn9siKIdBjwqNaGDJMNDJMnbkGdkTuvLechJnL4vN1QIXT2Ynrp0drmTnMrb6u26actTC/j1pGJo0PkMZO3TK1hFDGkXfU7isuHmP7w03jg5sUEnqgrZA78EIFGThl+CFm7QQBT8ihvCcuwN96neeXpLmpO3JXKu/WWogzttWKJ8pFnd84x1UEHhBPMPyqA1ax5Y2IBXF5UdYRmmLI/3Qoyo131zTT2KuyMUevD+yrQ2kBvtE368PV22SLYIJJ+lsiWQNBjxNKMM5yDcbz6EP3hZhWQuUBdtYxOkLuzFwQbXN74npqI1MOIMabzyMVT8xElXWSRMIstRU6S/txwdCC+cntbd2zumGXFFvEMlYgIMi9kFaF1Q9a9iHYvt8E+qyl9XpEHT4xK27M66oTEv7IkCSK7tiPi1DnY3tJGDsP5P9UAMerUP1B/f2kWfUWd9B8TJQZChLHf6ahlH+lEuBHyromxah7xlwhqrNXvQ1YDB7xmdlr6EsL/sxPMtMNJbxlrJTkdc/t2Gwkk1ZN51VjMGShVlOLXjl29km4TnuofkDtY7IUMwMmz1qk0WxGVm5o5L+XPlV3lhO2todmNgGn57NIMy07SR29Utf0OCtJDElU7NRlk9MqDRhDTrVQ03FJAipYWlGvJyR6BLbaSBdtz8/bnhae2DBDRo61I1dtZW/fIFGVMxI9RFo9oU7wT4B5X9nEM2SHe38SkhNjarXj1MWSUsF+buFFLcadAnKG290t6doJkNnPQRQUDfILrO7t908XPCHeo/YHc2trKSHSOqNQd6GA47lFZbdlaKThvU83TDQUp0qF3oirHqEJcudHaUD49mSLNE3/RoOcHJj8dGFdDf4rfgnZsGzYDGyMepNPIwpHlUNXqyS2aza7eFZW+jMlHFXB1BgDGn9HE5Mc4GpQVPdE4b1E8J4QAL0RP1fvDLkGuRFqrkwU8lBQfgQ0ycfn7joBhXPefYEeb92kB+Pn3Hmj2eDRbJ2gQKp6mSySsww7j+yzw3lXUOe2oc0jM7olT20vIEsz82eoFJq5jGv9yg7CQ4w/C4m3NwaOn2e1TW0P02R7u853zlQLGjkV4nP8Mt1lUcj5A2AKQ1T23NoxgtaSjTpdJgzxWbcefmN9xj86SIHewZIgDnqdPXCdfBoP8jIWVMBoTLHFS8zVGz8+pCgxO9Tj8SlnNBYarCg/aKcw4M/0Au0vwVMXDpDlDLXACKINv4M3UTPvLdMvUIE0v7HdIwom242+yIElXNC9Tbvhp2X8WRde9e6gGE1Z9uKcFRY9b6nkytWuATjCcR94GNtchHghge8mNgsYcTgHZ6SnRPDhAILytSDiKg0SNFqb148AAfKe4NN+CH0cdUsX0GM1ifWv5gjQlkW4TNw5HohD0CXXEDyWMv6HMGeIUEidi10IiT3SLDN8rOEcWafy3oXkGIbBixRvrZz4BlScgvsdQJGeldazc6/8eIDtAG+FYii6JRshgJjY3LUWX6mvG1MLFaUlTdP//ifAZNtDl6UgAT/BKbBbnsCcVUkCuPqFVI5BP5p56DW5bN8zpGL5nNSZF3aJuPY9Huaxj5wcNDB8waCxGZfJQIafYUoucOLwMGpUHXieLXDkCd4ubHQuIFFsPT9gVOhDqGlASeeNPlai67uOUkZfu2EW2+z+QuB6Yi+qBAv0n5GTJtsdEpGnzGpbjgMM3/poU8Jeljj7MLQo4a1XBOYJBNLcr+ghrvZLoVrpUXvtADg1kCcg4HfIympPF1FMtLjGVJoD+r1Mv0xmLZI4b4HSTmBZE4I1KJ0tfxmpqA9rsoOZOWnxcPNEUz5I8QIMVcJZAvt7K7+VQYbFEaVOv5N6KrEOM1pxzBsdSe6vGAs48+LdVCApN9HSONEy9e7briMRXDZalUE8D96akqhvRp3XLanNknzN/9tqtXFlxsHaOn58hZid4Kw9VEfxxY9CcDCXEgj9IQWFijaeXEfqS/k2YcCCAmTKfLyqPfIrwuePZ+gpSjUQkp2WANyG13GzJ2sqKjE4yJRAbkqIiWIR0ClyrLhLJT9sklgy+sKjzrU3e398JrjyQZ80irZMsGD8DcDYLJ/bSodHtr2Boglx8QWJ74SiD3TTjTT8YOkHY7IdwaJse836mQGp/1v7b2iuuvYe6A/L9843ScQLEOh5G3XmVB7ZHRZyrd6SXrySMTkD0vs5eoh0a3oFKd741cDULCgIDwSSF3r+NoUdhAWiLn9lGj0ftg54LYXTV8IX9GmFgdFI1uF5MHhGWjzaXDw8KzUzPl+LlN0j5/BZeDr+M6nH/3srrOc7ZZ7tt1FUEWEhosM4euladG++sav3PYBKYXohLUgc4EI/CRevxF4erKEjH9VCdB1HhojblO5Z9IVTCWY7gcsjg9iEO3YQnofbEuTazPPQ9xCbp4bd9ZrYJYX8+c0rD45c4ygnCjAEfhJBRxDt8ZEx0D4sck4F5nUvyA+8JYw8NxG9Rpi5ucIWhFg5JJ4C9FlqOeB17FthP928LDFyL5VNLRMEowa7kEXcrs/7P6Km7DVfE9LckK5f8E5xy+cmf4/QiYtfq9O8Lfw7BvvBxMhM+x291rgR/kFMka6pCAJPyZJH3fWKoCp0AiaFSYZ4TmZy0gQYHfl+xn/OArR+JZLPbO98UmH/WBuFdfQ57JcJW/lgyNiPx6IT/95A4PaVhaZf6+IiPUNpdTjH8avNgByTkmiA8dl9C+R9v5ZfcIcX26Dm8MBSlWo7H6gqM9RFOZ682XCH5cdv095pZtSMy8nXAMO463z/lr8oUrU/8gPrwyTTDONYrUU/PET23gGY0UnbMQhVR9mOfe1XWwClxQ15qZYvBGNZJTJlAo3BHMSgXeMH2s7BL5NLIVvtkNzL50bI0vbLbKm7Ubt9vPTVfYJsHzUi+fjiR2uyWjK7X/ZJfdQp84l2B1Yz42pTmxp1SNYxcLtx7L0CXxODEwAuuF9Fops209ovQtVdd5Vw7O+2fRm5cVA1P8ImdM8QHLwc1vmAWdzgLFRV+QmAoHOBUPheS5IRhxxO3fu6IVQL6k0aqcjSWG/FzqyDHBOz6YecblGzGQl8DIYbfG5LlLYHQ8fC1HLPxySDD93ekwwCugD2GfppqU9jZaU93k1s1JyFWLIJGW4zuFU2GmowiDpHtIvDouV5a33sZvAecw8GTbodWvxKkavUutU6Y0y9NloU0qTCGYFszs5y60rSSkeKrV98AvwRFhJsvo2E+wSoZWWmDCQroeBDSVA3Ashd8TyV1ceIFUdirWMtgsYNdrd8PBaaT4Mmrf7+r/Z1CAuXAVy86FyJ0KZCj7Ia2c7DWpAY1xlXGYWRZpZRf2VoNsL1AmkjpVOAcEjDnh5XxCT52iDJLoqh2wALazK45VqyGtZwW1B+M6eBwYQr0Mr7FQgoh6RxYeO+WLh5tBO/eHnvLYe1HIwrg4gbgH7Oek+xmmCyIX9Uwq+GyoUJRrK0WDf6mi/mICzM+3RmyUNUMkyoSfePZmic2ApS7ZC7m2uHmUlMIJ81uwl6DJXwJSWYKFsgimKZoNIAQpyQpQLOWHhTwHf1wHMqWS6kbiN046lNOJ0iI7h9ZxtfqsJ1/NwtlekQfqg7UVweWcpypHBQvOZBXcgqwAQCXIRJrdFIcU/sJH+zBCR5m8tDDHbbHIUHUqXIrlVeTg73J/D974T8p3ul6Uhz3FcChPC9cTSYiPeQWoKHGY+/ggjt31HORgWdlHzL4hir5ftx7HkDpUkbz/pejmE0B5CxPWqdNyFR8XyeQ3cflwkeaOfdARSObO4MC4jNLU6ef4mQxFKq4SKcGoYPt1FrC6dEhhxZaFKkHXedc/u7x6H1BNg9o8CBJsx83Tdb+GIBXAjiLMV+2qI5gI9ii0KIa78cz1MniZbBKiFf09roiSPhWoSm7kqAgxmIxdEoRWBYNWMcXKLlbcnr6cHBI+ZzI4RdOuSEUmyG1WbR6RlWuXiiQgA/Ti+AePFo59nVoJ3MtSv0NF/9P3YpwkrKImCSs+wb4LFHvWYCcxH5bU15ibzU5ax/BNjteOHhWaHlRDqH+zGcG66zRLY3zNtdc6xhIQ8iNUH7eHvQ3qXYnadebF2ezKnq+986nQVbhYB0CCrYs193IVdLt8z6HtOYZw8SdZb1BMg+/1PKWwdFHWUyK4wqKg0oJM0s0p95D0+crfmwoZBt6mW2rarU5fpGjWljozI17izIPWMjRR2WD8IVHsq+//yORZ3mymH5nKniUdi7rB6xgMEY2g0zunqo+zxb3tBddx6PeEQgZZ/n46nYu9TwlrvXBpUMRiDugISD0MK0UejEypC1Yi6/AbxOcXGEQWxUxIhw9msICfitrPVOyvu6PzQCjhU2AyAbyDTlzFHyn3nlXtVr/erA+AyOloG97BgsWrk7yFDAOiFF8q/6J7CEdPVfkbjcMQ3bFrSoMOk4YZW70jGfSLSsnMOPK6NW900jLqA7f9QXphuvciCFpAZZNk0/i1bRVt9wRqgmy02jUaZIuxUpDvSNuX1PzIXtJMIJRa+jJyHAjiB+BFJ3sCWAJFaZykX0DNyvQEvhdP4asaJAeuc6X88zjYO1Mp/Hm/fKAtieBoYc9olKK5l08IkE4A2dh5XWGUBPHLqz1h7imrPzsq8ZbZ74TptYUZurn27E9y8HMkRzV0pi5wYbrIeMsNupltqDlZ8TrQkI5YAoqYowZtsXsFhDo4SfQ9TU+GSiNGebDQHBweIMN+bgGRQefJX/6WMSDIqD17cj9AbY2l6VtnsnXDyI58d9vGpJPoNVe5eI4o+Kx+oPRtX9jjfRKllXFi3VeYMVT49wFgFF69YA/MI+szB5CVTe0jqkHm6wYJK4JndIPGaDTH6Br1MHTj3lW88HtG9Ts7iY8LQQPyMITBCsj06h+llKgYywpMSVQpyKMkyH7wyt025qCHiB0JmTKEQ3c/4mhY8e0mdM5OWAyro2HbkA5sBtAxO2sbXCgrSseltRlehp1vmyLuYGEa+POl5kLsuziYlt+S32ppgnNwrqU+QlXox1SZxz2yhpMVca3OM8iCaEC8ahkUzFa9u7cJU+vi8ZE/PWKTiAaxauIrdslRjRU2jVcx7+G3r6hT6MyRDCcoJLLuyr6xp+unwmtSHNJ0nnLjVJpG07htgm/wyOATG27Om4pw1V1pJvcUcWcEbKquLHKIMKUv354LHPg261Xg36JXsHSzk+epg1O23em5flYZfwDlgk5Yv6xtCx8V/+sBShYhEOzxy2PXNbN6bKS6mWrfrUIBkV7auV9vllnSCfDy6B0nf5jOLw+ZzmkvBSZ1X26pGe7iv4hGCIl5D+EPQOUqt0ecFq7qR1sbXNZqV2F/ApCNG1yQVVTie4xTVIgZJQ7PimRy2tWZVH+tqQNN6O+BL/+ry63EOmeJa1eODHgS/UtOZCm8Me3YHEEO//dZkZQiAU+4a/RpQfh/sDqQXmUXK8qv2GaPfBWghQVxKbam8wbddyx/UipioTbF0UuKECTGS0e7RPVeqdHBM9ov6BabeSXZsF2OSI/BoUu+qOw6FJz33QRnFHnIzXdYGm6zmG/Swgwdk+jFnUnFygvSvq2IXFV3unDJ4gZYiA2xMBvCYG7ys/Qw7HYDEz/aY9FhpfmBkPpt60fD5NRKj6j0SsIJE/ka1Y3aKery6C2H+dwGPjewgNHLDHuMvi4hBjee6C212KpaUSHKKDEWHp1YBakwIGOkG6DmgLguE5TMsjr3OurubCryEbI1T3c6zpzwr6LFrBSFBGhyT5z0B2snNQ/61PxdZAp4EYsC1DLQP3tC4Xxo+QRwpPNyPmS+aypHkd8p7Fjp49F9BzBvher4UN4P/LngvInkieHG9v5Xsp6WkQFMQAom8qg5QYM/UG6yRytV56Y4NWBwKUfbAAZOJTu1hnUmP0UVQ/zyhUwzfbzNuDvc7xulb54k1+q6wys5xLLVYeEgMWV7ZicuUnRGnptqtuLjUGHV6qgJLZ6SNUxPXNzboUsbqeFu4lw+8iJIPKrdgEbLrxkA88D3/p8sHHhqyk6NpDeJwwb31FoYy6LeeP7c2dQ0TtGnuafwrrCktaSnxUM/AMVbSOKNEd7pl7G6tEfLGdUz00+ni10SA8ngyEFllhhyjMriUxQauRm3LF/YJdIuCGmqMrX/jXBGCH5wyV9Lio395Hx8AZgyvbrlVgEC1uTy7inaFUc2xQD2OVCx4JhbE98Grs/AHikrLDF4t/GRfVg2Vbc6GrOb1joTZgrm12/Id3ts4rhiNg3cP5hM6R8VNqMVYSNPkTEZBKL5yT7aDjhQ5JMk90XWeYQHrOxhsR+S1Qe2WnDJKZUyQYickJZgC2FI8XE4iv/iLXl/rdYCijd+0tQQt8Me4or3J916CZWo/pMhuIQGjoYSZwb4kSQqZF/0XJ898iKPnG2ys5W/C9ooyq4K39lwqRrkqVm3WqtaEylIgndinqsnVl+6CTIlecLS89IIPR8Jml8Acj5o3J+Jt1Q4KnElh/iGmEDYR/rNh1hAct9zceqkuHCDrTOwiC9HCzR8sNO2xmFBhF8js7Qp79yq+6ba0PuuJhIQj/Qd8zM5o751QyGt1ELBtw9dG2eW+YwWQXnClfTv6F3H5My3ggLEEXpjHYVowXt6vxawnxg3+TzJuZ2iFIL7SwsDlsZZCE53fKZaZGg7XRc51v+RIbkwrDc/LWHSy2drwC0pAoirSHn3MDP1NmpCEPP3Rs5Xp0mhqqeJZ3/Set36DupO9sMvXcb/gtj7r4zRa5/IePsn2DvTOpPg8rfxn3jUMpUhkTon6ZvYKnMlIhA5lEow6I1z6+EGmpc20ZTHSnTlVHt2I/aw5o0Ypd6z+qt+D6G/Ps1WvXmvhKqA7kSNfTgsg5+I/E+BInFT3RV/IgcPw5j0xiwILcl7zFbWkvweng4sISSCk/j590u5ptyehavQONYYgCpSIoh61EmfR1SGi+3CSOMe2f08261pDkPjVdrtybW/WxmbC8AEIbLfbSVhu3yb+U/EEOslxs5jhfQC5L1EqvvSm8J9Ig39/xf15osz4xkpapRIf2a8gDHBVJ86e/flH3sWH80vXPpPkm2crXXccBQIyWg+5QPMi5RMp/2e6W65iUURAceh0BWinKroZo2idK+gbBx5BFWMpyO2/Tzm56sb07KDouY0cN8A9PXtrtOOl67rqyotfCb6puhOFr5ZzvXv6lrbg3JhX0b92EFYkXeYFyseKmPr7NYuAv7E4vJlyn/x01u1wB7siRKkLCKRNO9fxPGCZ1EDfGFo6OUZe2TQwwW8krfqdBj9VV36oB2JKmUnhInYbqk1a3n6FbfMl8MiM4gtC04VSopsVHTg/Wp5F+lfgv/rMTTdLrTV5xTv/+JVMuygKkoZjEHBnhge3CCDdnT/veCGxoptcnFRMX/LP4lC84MApfqrLuEC94tisTZFafh9Vn7IKJN2lsgvZltG5yDUYNKeT+JZifncf8nvfTZNRx86/4TokfMCivytj0gJ7UIvbVM9ULI82Rx2AgqetuNBvemT+4sWi5BlunwGrzDaZQgUEriV4by9PHs5aNCo/qXq3sqeoxWSoNuHhTiCl+KI3qRhNtW1OSBuiWBUTp6lNXLPyVcXddm4HnDkQeb4zek8hRfPVUx0jiERKCSopxnwQfbGP43Vix0wcq4f3ZoAz4jcihYo+WrZdQc8PgTf3Oq/4Ovl2loCnPlm76UZDmIrw2z2u92zAj+8ppSsYrlQR+Meybro3tzrYncENdhWXjgNWfV+/KWEhBqfCmzP8f5cPUWuQOPP2mxiJ/V5jezdiQzxI56FufjceD5OXN2MYf8kmESpe+yorQ0HP30BL82vN1hLeNU2GYBQGhGzN5iGW+J6DxMFzLMITgOD6qIP0Q4/5wH8cEzgT1TuZCCQpBlWRPx0zBX9mTQuAW6LYgHEjpvyILnZt1Pzr0XYsI9W5JHHZEP6XzKrGVWB7m21/kg7dAUMfVXx8WE5PvwcJJb5yVb2cdoApz3+EVQUpJ7pexxSA5VN8UlNIcdPM+owb79gpMYl0aFKIqn+7SEeApadFsPTDGO9oJDKn5pEQBlNrhvOt4KUDKfXQHH3xYuS6WU1ZAlpfOLwnVKi4tdKyvIBGYwMkIXluTdf5zWrgdm2j6EA38ZmCKSoxkgXvFJREmJD89P+z9+9fcyKCuLuuSFARMeUd8iWY0ua+SGBCe6p2T0/Nb3+TxP3Hk2eooB36nXkGWecxr/QCScjF8WBYid50vveE5Ho3jo5s6DiKw1KTJr2D+rw9mmC/3KkcZ9UntODuVhHtoGHq1zanx7ohEJp1bhdx9duR/6fSMj/GlEgHXVbqE1BvJTSuBGx3E4fRLxGQKaNdF9aMpiIeUMq8FV5WyvyTEqg+LAd0P3uHNdBhOtV5n498oSC7U/036B16LVNJWrk1sRqxf3vKy/3DDg0xvdSVceRYgW9bLpJCxXBiWrl+/OGjuJ0/qXrNET3uTps07soP8dY8dfRdDWISacwLK/WDiloN+Jp5wSaPQaYZGUmE3VHKNE29YA2OUJb9j+KPlPfLvU+/rNomnVFiSUSOXrxX7enwp7sKO0nQZxWP6b+SMBbkgUnDi2SIX74aF/3ILa6obq8BW0HbQgIFK2tX5otxnWCweQnCGcVINSRUkx6ROKCoWWlfZH9i1kInyY9U9Tsov6/QnsQ/JzYhgNlGy0uEp3wvzb5waF+tlpEQdktuhuYCeYIir7vHSEk7V8Jk53+G41vMCNq3hrTxBiAoB1n34wIghfGr+myOfziX1W43B3r5Da63Bqc9XtwkFEPXhAX16Qb/yz6Gj0+iVu4oGFuCAr0s3UMOaeFYElVaZ9Px5DQaFUYGmiMu3YC356DcNrv4iN/att4wRYb/dr+079W9kUvHZfq2SeDtUdIrNFxpCy/PfHX1pDsSrQEG18t1GqPe4vqB3lDfrto8J+IfMz4y8mMnhp1PsQGk0tVg/elcJa0TFZzJkdsJ1mnQKxLDaKyy9bWyJL2U+0qfJVEmLB5kshVyl82GMQsK+EMMi43Bz8WBNoM5sAv1xZn3Ppi13LyDbTnTUkcFoPY3CWGsqpKBETT2WIMR6uj6K+uzkKoS67oVCp68KmrJg8EFCDnW0da8s47EFt21n21xGOR9WpdixvdqkIHZUE02hdJqBNI6tZlVyvwtnygjCkhz3p0RDgJEqAFQWEaVaaqN+9eDhd33clewaCnrL2Uu+pCP1lzJraokpa3gY6nieoIFrHQUalqaqyxl1fO/9xr3d3LjNRWFdZhsaawMvcPDy1TdOXFO3Cix6K5ylH/hgaXtTm3GtfHErd266D8vIxVGellufwtHv15YWKJ23G/2bhcb6/cFnzWkstDD/tV8kMm9yZUzNTBQx8j72ql3SdRjQLxNK1u/l83BxSWzmCAkzDNmaM7+vAkJyOsevuMWJ+zo5UcDv1Y9/OK7B+6MIDzBlXYY6GYakMFTArQWg1i99g9Ejb37zEtE1W8RnJGSvvpAXyI3oM+GwQDYRiMFRC0SZDf22vQz3408t7vFKcc+09JIAoMx55s4vMPvqg0evdp1shW4fbaznNnFpTzLoneZ2R4Rr48kF+b4xY+S4m48OA9OfIiC93czjiGnPEKzsjOEPVwKYZ4hZKgGdCmm68iUUWi02VXXwElCr9KSdceblGFgdgpa9LLMfnF6o2uMTxLMPQX91jlIFQ0C51R7tpOv+RuAIX/6CvWSU+O8uB1nGfC9pPmKk+9vSGEe4MuRFWySXvwWhfNmcUTpbTohpwle1krxhVfDGtZTBHa5GTMW2aBJ28wDnFi/zt74F4fTvTnV/ikVAgxDxUe5Bmiw+BfmRa/DJQ1bCKDflou8NfIcxa6dSfrGkxHWNwBM+PEE9N9baHdp0yZCUR15+sQDlY1V61f88L/eVTaUxkwdR8m14lrMYWykLWICCG1P+aYAQM0yBBuRYQIQN6KL58T33ruj93w+n5/6MfaJqKmhiHWNBsg/Ecm0YquqMMEhHrnAwsLW0HIxAO+28S0KiSOHH+rGpyee9wjmKd4EEgTbGfQcyROrgu79y+EEa6rYtA2ObuC7nRF5Ygka9TZRTjxUU7knCrs0XTtiEX+Jz/hR411ylyxVyvwFz1OnlVen9GN1PYgOG4ew+OOpGqIoKkz2AOoilpBefobJu+sAg/oU5nBM1IOK904M+sRpwa73VFOB6yRotlMyoOQUV2UB8VHAeVj2xJS3vws02Sy1ARN0cwxZt074GwGiKv8qHEJmkb/D7VX4rciZ1dGVjDECwv6N4/S5FCoRlozIO/fH1I0GZoGF6ac6zn/7rcIMVXMyBU27hwwgcT4hVhpz/MzirnTUTr/y5lusosboAbdEIzTAwvbi7bslfHcFDtgb6EWkKqhmNp+vpC4A0zEn0mhybBoX9rwt83AxPJHvra8YDCzgBeRYkAWNJ54NzwntKB5ozV5q9StYntH03GtTUY88FepeDG8QLRPdV1zaN0urE/5i/7zXlXcg9uYvXrKzFpQwn7XEV4MHGHBRDUH6o2diwSy+M8DEpn99Z2te9sfOPGQGX8HGwQrSKRMEO0rfq3DLxFNzAiGwzHjv2cA4DLnAEz9wyGEMr2D1oE7+bglmaJpOsGVALhwfmp8880WUBZORkt/PCEX5mQ7HUSvxFApZVZTiS5jgOoLrNkgTaemCqnHk3bRuGNARBLKx8htQZCAnSDVKslTTbOHVKhkKSMC5nEND0rLvW7ISx0ncpsnLpHD8RRTS+06wpE9x4OGKDkcYAr8nT9UTGxNscYg7/GR753MIw76nY3t5VlX2nYZnHYOz3JqHQE5BrsbypGvDLgG0OFOqMmAwDaUh0xzD+kA3gT7K9HXbD4AwpSUYsQL+P51UPwc9TRt7V/vRffZE55Em52zyqDP4MvKH9PFdEm/qxUhU8gSNU5YwFnCpdXDGMstx1T60dYDqTeP0U43q/Q6dC/Mvq2EKh3752zDf/53QahYYzhXZ+ysfZ2KP7HXiMCFStDk2gXD9GVLSx498m4N9ygsK3+cli5kf4tl4sGa0g4aZNW54UHm6RRllQoniOjiE3v6490vf+NnYGAScqLHJJbX2nWlZYebPkjE1BLjvvM39apbU/XIfhcnU0GdHyDpV80PrBHJtM47w9pv5ykCAkzsZW0iZVpIdYT+zEhLnLgC2n42ngF/Zc211Jmiiv8O9zXBV8FeSofdKuQsQ3KQ/iL5jJCp84IghyeAB/qPsPFibB+9x6oPQeFzaPpRLioti7RXuYt5MclpOONDGDsCnNC8iXOP6ZVreCvWfFq6LASzKJYg38D8RaWPj63kEPyJoeUvPcq12OO1uqTyns8RLOTm4IYinZNTjQtdxfJIpA5M7degvZIBeZ0sk9g1dkD5W/2uouZxiRGJguLnOJSP7+Q5soho2l0cA9YcJK2JoD2KhH/+gMtLtKDMlcKBtcLQSuwUlbRBeoeUMDBmy5Znp9A2Nze+3dDYlkDUvoo5rC+fkRRAcUSiGap1r4vN69X7L5l8MXmCvMeBtIRw3UhvyC4AeKCJRzof7yymYCy58k09Jk/0YlsyWDlxvic5iCa+DRFjij2jfW6g8lMEk+UeYS2L6H7B5lOqCEP5NGsh96d1fUFGqSL72yR0PKMgbQZOp/SHtFhWJ1YH6RbNwwFw5RmkSh/WmkaITkt8gdddGBNzr68PSBOAlsxS9Z8A2K/Wf9VJilaym0ivvjNsQOEHNX1niNp4ykOwrFTRKfaFTFi+1xSVp4ZUiq4lhDEJJ28tJ+jqGN+wYyXkUNH+vdExJbT+Z7APhjY/A2ah/xok7mUGz6oAkqtsdrTr2TuG6Rhw4unjk+0qFT+wGMkPY0XgdMHNkIXm1TMd1KDBW98fDnsc325pHnhQx9GUaOCLmkOu+6fn5jsaejZmZB2pMSEU8Bcd5zFZyTfT5Ul3gEFhNHi/DkXcYuFoFuWg+PpDC5aytj7beMZ2/jfIeBB643qYQdTkh5OT2aR+dxAEJW/8Tm4hwS/wz7IizKjvN+2C1Ol1ke2h0JsM80O/6T10oqZBIHHhHjex3NZnk3+O8MWujBLqCiKXz7dsKy+vBwIzIw/DLNGibIJpkVJmLqops6WHSOS+yMSXsamXihWGgeiPxidks+H7m+xPU4J3T5R9VdNO7GgXq/LDHzjG+AFKNwM2Wpw6IUtx8q4CmwGkjE0rIiFRfiquV6+x+YeMc4MoKpQoLOWeLyFosbfNbklr5A/JWSupNzpIIEyI2o+T63lhCgFHbhvr351dqi8+lS8Ml3HnQugZz5Yao+y8+DcLf+zpbhLQQXfhyy3yCI9z+CkvgZOLZN64s8+kvY2miN2pk3iP6UMAWt+CH5Jy5fWNJRKnSMiCE0tUXKh4PiZcwKTKpGIEtIu4iyGuouMcF0yazwHcDdBPuwjYoiWObQTSIKOsRun4Gy743NNSIb3FgdwfHlNDCC+RGA4D7DtLze8XOPDWrNGf6RCAVep1RWjL5AwnVwGiA2C/htMSCH5gsV2e9yNA/oeYdrmXUO4xkG5/UFm9wi8fNYEwMqjbgnaEDYI8O9OYIluq7Ytulka3ZdTn7T4XYok4/wwxiB1cV1VDjNZmhonJG/sLHWqTcCjzrkkWyulMcPgqrTZaqU4gnSqJBP3IFVbvEoyqdJpKizrrh1nvJMJcMn/b8WWaN0KQjau+OaF7dH/83m7TGBsEl8/Yg1KBWXV0QIko32ZwNX8yglSfPs7UF4lkth2mUnrqXxQho/lT1OYl0Y/uwrvLppYAS3qbXjy/Tto3/Y5jWjp7wpfi1qA8pereCUFXJtGLugTRiUDa4e3oN4gI7yskCposQOUfcpdabTbBSEGRoaDk60RGW496eCOTW9gfJw51WnCuUt1dUK639MXBSfr3jkG6EN0V1tH8nWX1C/zyOuafhMCjgdSGPVFRF97X7egvkgK95ZiNBFhFwweADBgaE8KnR3wPN3SiaCPOElqs+leKL5/JYwxIM0PMrWfzxVxSKndMwXdQHvMWjeAldkkxumnU0z6yubPIQU6sXhrTRbuq6LH4KWVOVJKKajhXK/9EPwrCZym85UJJBv2POcXSJU7f3vsFgEoLwTJg4SagXrdxzA8vPsGmAlFlsjnsLAtfj9uJuvbTnVFH2Kt32KLeNTAjaLTfhxkYZ1yZMO/4GU7jyV2WUSD2hC7CeBv4KXrKAsoOPeIRw+9X6dOUP21QFX2IC/X06AJ5+9maVsOdA+H8trLdzs6/2RZ+I+cK9fM+GgNecZn6/kNHZ3PPjEknMEBuEPe3P1MbYy+fB3DGu8g3ouizjM51dVsj02w07z+DCGFwbqv7PL8gqSsPnABQV8aThx9ND5oh6H0dLAWnP/tVTqMsbtWQJK+GBhmyHMhaP7ck9mBbWQe2nSJ+0WPEgfQoQMzyomdj8IyYc0bkx3XzZOxNnz4r2w760uQZmukw0YlmwUJ0I9uzU38FbNy5vRqe5ABGX+2N5lFhcn9Q9M7GHe1qx115Q4sRiyKJ5YlrK0yyrCDY4Rk9xkzSeuS7cDFav/ytqt+UKyG7W9LpnMUPOOAGaxaHFxaedc0lJxB0cW0na/4pM//FmSdIFfevm9dhiKKCxlgjwRUQiKSVnfVQhWdg0qRxenaay5watKcxSz2qa4ziGgF3XiStLSjKctRFRRYTq5mlREViyvPByw4b5iFaSyI0E91f05f5PCVqmgWOZOAoUEOEAlluUFo+MZ2bms+RSPTwmqPbNiBkwV3RM0N1xk5WrjgHAP0X2uBnzMEgT2M0uJijkc7Ti9K7/UFyHOwI8C5L0pTWnP2WxPI1tcNt7zYm0x3ASBSh1g3Y1+HESOo5rRkL8pynpYYUYrXpZIcQSGnyc/Xo/cuMBAi8O/OYinPERivdNOLvDSMm4tbXo6HbR6Io1EuAZk0Fod4k0Mn6+RaK8YW81u0gTn1R+NBtuR3WlVGHL1O2729H6imonCzsGEpX9WsANLTnQjBgLLEMuPSqeZNwRGJ1WlrzoX1IJxAf/KXZXqgGvGVEtH+7Bl9BA/+G/I+rkncZIfCX6C0DYEF9fDCzQ58VtWBnHwsh8vh0RTAkHHjKe4oqYnA3TB+0SjMDszqvXqFQLVSwhpl8Mj00wLCZ6UyTRe68NI/G5CmF41Cl1Bj1ORM2M8Sj+TsywgVl+HwIOCBbl8UVPs9D8UoBP9drfDqokozw7X7KSGFQV6pDObW9UvvXLaFWrsDPDx8q24MipP/q13MunkXV4z/5I6wWZOVF/INaPan0WrKWrkd0KWyoXZGzFwVqpR3x9dpwGWZ2WJ26T7q2fiH4Oaw6JWDOB6qLvNtHmZ07Xp5vjhItVWMCT8Gj/CtrpBc0sQ8wSwJqyLRUWftnwuIjwPx4PnnScRi0oFMW8V25p4R01hUcdoTITZazGF4TsGLDWsNPI0gKrNk3qcPfDi+VUj4xFNq1i9SzMjbjGLIqCXoK67tjJf5L32R3NJS76moiwPPSU0jvSiF0JQ2bI5mjWNRWBTqBTkFlgnkz0UR2DQS6wARDakrx9yJkrTGDMeGJA6HCk6oLZ/LDMW/no/oxKYA9210N0opwEiAP+CksA2MSFGDeQ6WfWqFDMlxqizdJVIQu4NMHSCVAVgmZv21sx4GpCJJTE8l3SQKCQ9etKYE3nGNVb99r7JUaA3iLDsLqNFGbErpsZl4k4y1xTm99oqrkDW4izkeHaw1JrnDDg9bIOTgZD0ska7FxRh0+3VybDdvojjBfSXfSh9sEGGujteU8hCd64pVwyGJfgC/r43qJnPkpjJUMK3CFfWnF3oGB5dmVOLWkxhEAGdXK0HWd9A+adHGvBRpcly1TdwbPSaM/9wvE+q+KxGS5ln8HTa9TCE7DLtQyOhxxTwOfhUAyEi4aPSz3xg6n87IwOaYAPjGhLUTqijS1ltE14rtDg5cJMdhEiqRhSb/01Ix+pYrtvZB/5P/cgl8Ac4iNensrZqszl5yH7wevitHDzoIN3uva2jH1C/WmKsbLDSqfehZFLo96OXUmdtXI0Phxo4R56kJTOHVw5dTjRV2JsK74kQZWKlBBk4SqM0DBE7TdaA1zPgHOVubVdh7fjMWlU74BH9x+/33+Y0mTojx1fWwQnhd3alXBmx8MTLLHfCVNgxeUUH13Kt+NlVuNU9O/sKbKFW6B/2PkOkC/OY7rX8NNv+x3lJgKnmBxgY3DRDeE7HyyR4pkSxTty46Vwvd9eNg12rFEfh1M1X4ubMdid8rmaQW61+aqY+zGiYJyDZOLXIh1WixzTfQXKpbVMiUDInbThW4wGuWYCGCnbGDmV1DNAIj8BuwS7WdRuVHwY71QmBlEMwoxJCQOQecIe9ZVVHZKXiB+QXjTyQFPSZdJSg9yyVPrpipg+lENtFgSOS9mi29KEj29k12kIcZiZhuwvpnyhHAFu4NgReNt1qncXEmicCw6hlOM6TVRW/EvILk6JXw0rpWDAmaoU6o1Qk3dZ6G6Q8t0oxRKKxuWK5oDFeQcsYsaZ42mwdJ6KzZUiA7pHuel7bZwlRmDIC6zTJYEHVxmncjbHulTqN67RNVLfaT90Ftu36oP65IupwLcMpE5AFjOBkUzT7UN1mb2+SmbbQD/SeG5kNYYoF5yktZV71eRP03ckx+uk7ibQdUGxAKT8D/KSaLleu87M8BUNck1UMXd5xgcpmgkwn3gRx0PaHiw+eTTBNMdLJAzRWADX/c4oYsjDjq0po/ZafBV71Z9P5/XfiGKT16GvYBnlKYZ8bnpvrtVZlMz19AoCrjALrZ8UBfMQgAfX6DeVZyHVqYAohn+JqpbxxaK1tvth4eY8lscH0Ilqv2eGXo3qH3Il7gf3CF6ZNVcKHLUvGxjPLx88Awb5W97Gn7irzja+0Sa74icGf9sHlfgjhbgClyYUbl6/pDCwqHeowoO+ON241r00mbF1Pu8lRVh7ATfiYVlsurRx3bxWg9TvCHvbNtTQuICB5N8XPKZ3/FrAsSoGNQ26wPhhfugpW6zcgqSwkW2shGOLqLTM8ljXkwJdJl9leAfDPzJiLuhDbtQZ8iAUDf5jdLKBQfLQoBDTPa/kHltkmLyaVrwKBw7CxiMZNxa04vDhZNJLRTaVSfu0Yc0Jpnd+wOIaseh4rR7vLOLiqy/65Kzs2wDcmRkQ8L0Yji8E92hZJjRJvD9IK2VNQJZZyVK2p6Ms4AtQRBxEGILqoLagO8VFroY9uA56qlr58mBZWG6nJbZtme9gK0OOJ057vIkJT9hekh92y8iy8T2sjL89pm4bccgFPM4cPguiKixVHbDH3StdN1ATWOLEmsVpXXwJG5pYnIi5wywhV2nWy+MYiX0SRddxD3z5Vjc7bRJohGimddck6kQSXQCu5S1Vil+6sdgkCIxjHof5w1Bo0SKagHyJx2gnh9jm/wUqilu+E1fjEk4UZwp7G5Q3Otu+UFXSRWtcPOFzwYML37yyGdyMv4qRW9PTfhQ+NhZJ2imlfzLH9V4fmuGjVbCX8zCKaDZypVWp5BRBHiqpwt+B1QHFRx2FpgkjuhUyX3QVLdUlafvzyEGbdeu38jl7DQg9H51M/brk2xHJnBET0pNrNl3ESNvoqejqELX2OJplBSn5rtjXrVVhNV8WIHkuDpGZc4dZIaWUcHOmDe7RnFemds/Z5pCfIJ2hWkNPtqt2WOEKQPYKBkkmPmEUDTDd6S2QLeYaVAPX4mps7b5zirvjw2yluqZ+Y1ETHqyE0dS/ZHn0I8ePh098G1su9OlCEirWzmbobFUvcvIVUObJr1Y9amCP5nZgOH0J6H765jjSS91ZMcXGVjc0kZ4znBXZzRvoZ0qHi8NYWipTcEIe4qFx/JCQwZZAksos72OSXWMPGjkWVY8nf1GwbCwG9KzJZcEjj0sTVLGcYED1S9WdvI30bcjWWcqfgQGgN9MJf61f7ESHZQO62D+aii03argKuvqEaU5ibomsJcCGLyQPUo7l00xsgfOk0T0z/kk6tl65F5nba+LdAjBk0iT3SZldbkApmf4piRNADvrS7WzRLqRK0EklvzHJh1N8OjiEtb8HfNlrLDovKk1vFw3vgu5vYoAjq0frtBZHVcMk9tRqJRU2KmJxoPs35IF647AtlzorNfG1UfrV1l0xX2BZuoWg3/xM7hc93FHm+pzXLFCmIQcNrzOfYnaVZjbnAGpR+w0QOF7HkRP7VaTu/FQCi0oLXbZHiFxcTZMjLsyJYf2VBIczpAHDOvakVD+xmALQREW46do/8ssIydq+MdTayeT2+A3HSpTb4uePcTB9cvCUQ+TAFUg7bcblUZDOVoHqLtvhPxKmKg9R2OlBhcbnBeb/5CBbx8PC9ubF6UgyL7NkWEPKq5PLxIVa3RNPkFNq27n/nOKjzp/pmcqepDIQMZ30PKXDXBwzyk/KcJuW/OCWY57bzc34LpjOMJN3+7bfuUtMfn+bTsAkbn2Rl4NukG5AICEQdOyqfa5a4Hp1Cc7u/kld93P6pZWZuFy5Uguhs4R9ZL65AX5ZliqXziYWXZ4MY1PNsQdl/ZgiqJVfUrrp6Koxl9Wz5BiuSUPExDhimE/JvGZoLpmtbMw/4axmFmstx0IsnQk6+R1zpfS0jGkvroYAaJsOcKLxyIgjzFdIv93zywwsEgKUQ86CjxxuLPJn/YhwVh5hbcZf7ZuxnmjS290OTEvPXsVXZkx22S7kfGrY0PSdd3fPnUL9k8fWXLTQ8sRTATGprGSn/fGI+c2vLlmQgQqbTuZcbmbZljmzOM3YErymvqMhcXSZPtrWikwSO/MBSAIzON1epa9fbUchTHItzvPgoyYw5QIpNKnhvVChyCol5izcQ9bINWGXpTFWICqGFLowYpvmqbL9JekbXIK9+CD4qvRDrSVWVEM80nZ8mb0e/zCZTIG7OLXS4E7mScesMukeEn/8nMZ/q0rzetywwVzAOQGXd/4K4ejpY9cFv4X0q2C9RRFwK0mOah5AS+IJn4LeAPpHeEsUZb12n+C2ydj7I6XOo6Gukk05D+UDDOMkSNETXdO/OM23Y0xNehMj/TBR8vgME9YhY6MUUFKJ+UBJvpvnn/W7k9ot4HCDzvyibqg2FrlY0UsWOHCteX8zXf5XlJ3KHFf0S73CpUlX1BJUGiadSAgja3WkmaU54ZPnLqvRReyTeOTqvq+FenXpY7i/bCqGeKUasWKscvVTtXJafMON6DXHWB0IUqxDTakGoJYwJnZ2v/Sxi+1h9ZVjQp07UHn3q9mSgzArQ7gQGQpvUfBwD95sD0jv9nNr6ZAQBOiCUHNvWDzUvGvr06NoitsakuxfqvKmnNhV7xHpa8PrzdOag+yYCpP4BFIy4Dm07Qx/kojuh+MxSiBmKJniQTo6Wth4K/GM0MLcMSMY8jNq09/JCIPnSV5j6G7KYuZm+MMmOC8xpYQB9i8H0e56WxIMQgl22oUDq5alZI747icx7Za0Ppvo2cn0dUrDcuKLPlpZyiWgaGVJ/EgyS0EeQ5x2qiy223cYiu2lkd0YhDT9u1TBpIZsDogP0eCFg5LaSuDMITCILRllZmONdILWeucXK5S8XAdYTp3aJEOO9n/lRFUYuWgIIL8vvB+tOotYpJDDRvfo9ohUUxNShEm70gkdkq8qFS5fl7yGrHo5iE8RWxlCLJKUkl+vy3p14aX2muNT354i03r4FlMceF2PK3Q5dJYft3398qG8/rFUSAEyDwvuztRKqp5r6m40lJJWXsUipuIU31IcKRRMsT+n5NHCbGZEW9cPNUHm8sWtIkSBF3jtWVv0upEG6ZZE4QQpVkOMtZh075ie5qEg8bZMIlN98p56/hDlzIBMrQsuhf3NEzJ6RZ30PP9Jaufa//a/IhwTrtcgQ8cHfDDJRSzVYxcACmznftEmNc0Ff+Ht4Ql8vk92rUV512bPINZx9eN4lfyHi4ynVlQLbtIQy/fn1Fgw2EKEKdTiRiFoc95e4hkmUGDU43NjCTRcnZBX26U9zvynrkVZlcgRDtjrRm674o1GmdZeLTsqPiHH5zp8euj6g++pQ8uQVJqcgtiiOmR3nPdTXhUsZ8P5RqB0AAlLIiJaJA396GAHvFNHaYb/v9iyfVDnFi6zkuHcJ8+HA/0XWa68L0INC649OOBGiX9+zCT7XutFSqkyWdOnFuT41+xXb+5tX+bx0svoFbRkvsfxLfpNJK+WSYnrrHVygtoGEdEc7kdKI28wcNMzg33ASk9OX3u2dRmWGNUysjeWA5rt+xCPdVt+wzKL5ks9VhwJk2QLWZr6MJZSuDMZVajgbUjL9zJiUlujNLElavb7uIZfHXZHOy7+UJP3WvHNojcVv/gYje3jCp2L9PSwS6GNAtX7VPjI1BJdv5FJhn0bwU38YZIppdVIcvHoTsPVCnzl0ee3O8hloc/vAfhrXIOxYUg0as4zqMpF1Q1eqRu2fM6uOPyAEbh3QQTf6+z+RMGn019CUbeaVyAYRPwUwVhSYApscN/d2zAZh/Oi0PgyVJVKK4DV0/gCHJUSzRmLN1DEsWfIzMHfeUUH09iKGkYWF4NF0zi2kxc9Em2+07jaRhbIlUsp0t1yLhGWahpxoHaOwEMlBjiWIt8e5mdu3EaX6PviV8e+bAMXL7guV0ZGtdgDuxozEp4nM1X3VLN9flNqlWKvzun/1KN1H+rDnKzoFE2W7gLa/NpPeW/MGxmUWNG30MYPFu+wwggVy0SHcKM/+F2rPJ0680ToVqCHC0483fvEY08A+aDkSQbLpYa6u/1X5bBUkZ3NYwhtXI2w1/4UwzdTubf6oA7dL/ntpoBwBNHqUbxuwM6dRNB81f5jPQB/GKqMshVaWGoYKpiPCUqNkW1M3NVxWlxNUCFFI4HPLhdxf41jG/DUPBnzR18pkS6T1landjv5blISBXLsO8A1AqU/gAsd5sshFH66W3C+Ref7SL6tbgFZEnpc/b0QlQEOErYkQDNmcNBU3IFIstG1jKCVC6Oym50Jo3nGIjeLc3qgHSSk01awB7BH1Q74RrfF/09Bn06oWwPfHJGjXduRXVrJ/11QXglM+eel9TlSHQvG6PXhFia5E5l2FlV1cURd33JhaBgx97AYomn50jwyGzpzGkrXkkfcRKxn/tbDHdhKljAHAfZWnmVy66IZDFDetUemgxMYkxj8wyaugcftyyqTH8Yj1bvigVRTMmNzfEd7oKGUBPUX+WGeWlzsMJtNOJRr5AYzTKPwGmy89zbhd/ajWSUnOdYRltFdikenHPRz+g0VFwpNWfVGJZQZtnv+PmHdDeD1CE1Z5FnjNuoppxXkJe/Cp+NyqBySd4QYe2GWhWHDKCsGj8JfIhd/eASF7bMI/mkPgEVoicWtfsjskg4YWr/8hBHo7DOfVUT4DSVryWFZ9DmW1r7PzDElFZYU2d80jBpV4oetoBFbn6JvjpY71fKibxbbeg/GW9Ki54/HN83ZcVoxY2QvCN8VGcGMRtrOPZDMK4NGo5rzYwfdIKOx5yPBxf8AnY0pzHLi3D8uUi1LzeSiQ7yJRLxcSEV2wlQlcQIr09NL5GhR0Gsze/B2K/6ILFLSwcVjQC1M0kDlY3n496juSfpBQ3CwOHoIFHgdNgA6bTiku33gTXLApsrKsuQThi1lLo5EGzgFLEUAmQzxfmkpZ4wIek0VoqRWZ7KExJM/s7+UYTfffcWkJGUv+wQw33QLxD42FNKU7aEfRihk91b4X/lwHk72JXpNK2HM7fMPIBL/Vxsm5nT9hk6oUev9u01gzwSJFT/t/rGgtKM2A731tc3AWC1c4n+QpVAuUw1uvolqmju8ET2T3rr7Gp7Wn2P3zUfB3aoFJpEeVXoaeA02eN7SfQHs/+MrWSH8Ugc2qQWlGAQxtwZIB7AujRZxylMbMr+Q1iO8kI7Sow2af4p2s44P2cGyHE8FzKcuXbBWGIYoiUdg8OGZTAG3Rt376DUL6jfyZPjM/O8hNOZHL262CJuw6JyoAJKnFKs4HBIO/qWgTEVHiCOmpCgVePaPNPCM+6/H5GdBpnTEq9L/8B3Zl3yIFf/GaAsq2Dg8tThhjJN51qYFKvLjMT4mJMnDFKJ5dQx4PHNIQ/TbK6d6mu8vxI/Mp2c4nMINMqTNOOwNLA0Kj5JnylwHBO1onumA0xGc+VPny/yM3kSpFw1L0s/Fr/Ohkc3otxJ2wbRiHgbIIdjhbxSILJeJqrvEPVGP5sG0wKqOW/K+dl5AdHnFMQpr/ZD4Uh7D2HVMt/jHtujjwEMpsuPf0Wnfo1dDDI4iMam9WymVlJ1EHK33zpynvkKC6vpsaKQpLYRmTRUJABpFZrTfWvs1skiVy05mpONF2etYnwEW/42cB7NnNmaC0zus5UwsTwhqYs9ocPnlsOd9p1NKlcRU7g1BqYlflWX86pWban8UnZqFD//FwyoEcGW3FPaAhicoRWAfY+sgSaa8iXY3yiJa6NPW3Vdz+SJMCImaWfG2HKoOX+YAOaHzwAki6EAZuZ8ztK8UwUoKcAvDVwgkEQe4dmzkM9qvAYiwP2Cnh/8unhTmdy7ZWAmSM4j2oOTObXpkxeUglNvdukw207YrAuso5k40Lry/mO+hkjlSJ91cLHWTe9KbwWMHNnYDEFYjjNinR0Tjf5lKY1KsxvhO9z8c2mTIyV9UlvQxYd6q1yEQA5HF+XNXcH0B6RyKB94V87wKx6uMf6/WgacZG52kSJUHBBoin6DMa9HrDEvaKflKhVgTSJ99xRkSo5iHWmrSrZi3qAj6cLf9AqbskbZ1al5peMKCxY46vOXnzMj0vNxbmW7l3xI54PV4R2K8CzklkiVA+BorAWd4aWVvhCprU221kEkt5hoKFMYMySemvEuTcMFfibvb0LT7/GLF58lk4Ai302JRytdq51GGjryE1z8/iuhTNuHIsMdtad5jwvQLPJp8czv3FQKW88YDZ7Y3BMKz3ngzrfq9bArXo+K4h532QOi/rUjhCiUCo2t59feuXxpBWlPnadODCH1mcA6jBOwMSkO05nku71qouyv73Qablf3vhe+MdvmLDE11fbXkCvyjUcyBl9MHRSkVi8m8eL9oEYAc2eNMQ1qL9XiB6dvmKYCBvUP4POCSzaVwbMc9rp6yyV11pTL+kxws+18uE5PQL/+mCiKxZ33tdgNEny/xnht7OM9Ivm76plU3qnelKc2ITKZLayUfPfu3LVUAtIbwZf1yReHMoQ/ycm1CaZF4qBqbjaRaUKBoooa6/v0op1+nMCRAzQQmBZQ/wdIc+sShxpDjFjr75frdMdfFF/azA3Hy68u49DXyG2RaUGr0u4TNE8FNM8mGK72xjSgyualsniGiSQ+RAyyZ3PEtw7ErqXjSWBq9AAFob9g23VvJOq83IW/R+LHrGe0/57j57yifL04XHOMYdsdIr/KfEO9CPjB2Nua9LROm+/4mNHQYIVba0ylPaGo0bO9REx1Cfat2nC8De+AqBuSFfKOOtGm1HohFmGZYi7yNFNUn4U3LyBUD5O8dqE3NOZbqF6s60CjFnAOq+iTMQX3rsMaFoGGpPScjFhC+gs/wtjQl/duqcm7/2idYTPDxd4r+zJdo+XarIIoG+bQlA/FKrMeGsO2mor6Avxvd+JdpTUA7z9mXbCh5ojesWWjXklcAYZtz2oXESKRxHfBw34t8gwcxrOIzI/y8cXh81tyuOlJXd53SzAcbz3CqHP0XGlQDBNs6bMmGMTdid8y60IeukddDFvzuOBJC7BXbPPfzOcMAgsmFxF/nHUlx0JixGW7l6mWs5roI/K+1fnCYZvlJuJUAsSCwVxfgcafqWPoemJbeoOOq21orhpAt7eJTppSV8d/e8C79QZ77M0H8Fd++uFu0kzIai1sUaHyKkO2d4KUhce4xN1XFfdM8cR5N7P+78lXDs3u6gBmBiAzeA7ylxedwuKCsqE8b6Vms7Yb8pennufwLAQ14wmIOcFqBlJBDub5bR9z/lVcp9WyfOkAoqpYP92oGkYKfahjAZuF4RTyqkwF4+Wtnp48IPwUzUZHZMZ7UipHcZQpfn3TpbdjUInLsFOKdXxwCIgm9Shks0Qtp79E77LhwkVMlj6SOLRIh4lQtIp9JrHu6TPr2WKm7VzulvS+H5IXmaiEYx1xuj04yL+YOO9c0GFZSu4KzGUtnpxa3sE0MpdvR97NWfClEvO1jLxmw5M8WiVENHIxWnhgNOP5yKTzeI6g6SHTrPi+blPSXKiRD4+oQJEzfS/r16NTddF8s/5KZETWZWdz8qUjZ2YftCgTMpo0ikjigG8biH6PF4qZ+FIhZf3MPEsrpblZGRNqpIuVbdEyOF55dlvOrr6blccP4MP+aD9aJOU5Uror+NrD46SOifh1f/TfIuiZVcpfYQTbXJCmvNko/O8i4dImug1HKXSZjqdqh7fmz50eKa+ScSxGzXl+SCHFwCsk1XeS1FsEcu1Ve0Dloi8UB8sS/++k9+XK4FKF4Vo5sc1KrbkzhHxBGrOTztK7/wuWq7oRh73acHnnl1WVTnMyxPbm9yWeOt8R4UIUsHVBbjrVjuwhP33UDQWbNLOVLYOHTsfhnJFGvZRB8hPZyb27SIraQH8j4P4eF4wAAGkIOK7q13ww77O8hG86NfDURc7qd4junwtzeqh/krO6cAjV743Xff6hb2PAwdI4+GQwFgN1AfxtYSo4WNUmCqZctLxd/T0PGt+VHvOxhvWP6omhcjVyfwJHWFmPGX2+Rp7Uhe54/x6lfoEnLKCVfOthWYVLtqL+Zgi1isKsCId67Vo6ZEMqoPvb9f7QIcM2PUPX/ERVTa1U5uJFMzd6aOhlwiR73SbHJvOtW3LcLh9DSXw+vi01EzMrKax5CMSOdmQTKds4LUFHwZybUgYS13KFJq7hhJnAiXCD4l9FxCWXQZ33YwasQYFxMrBRZRClzOEMvTB9bXGxOWzXDDzra+cGfs0IJM6+npAT1MP9jbJiEzDv8RirWEte2UBJSaMtqaiPG44OUqlfBInH5eiMVMgFOA6I8lIc6A1rVDOkzfu59Yg3m3aTqsBqSlUpMC0n44xBf0V72KcAgv/+xiL4QksKnub9O/HmAjS2tRtAQ0dFdll6O+1q9Iz//QXbrIzJqkuOnCbeNvdUVGCyZPPLIWQ4/jr7CXC+sXuVTFNKAd6JXnVQpjtfj/fmBhbH+eZ28iEbw+7DLEZPLfTIz0o/MOi5jeCAVDEdqAQyrF/giIUuTvjK9sChARTzVD1T0ZHUbBo3I06J8IMLd1yw8OEw3N6szFZ7ceMNGzgtAIXqDWo5SbWO51q4J1VCRW+ScBzLlfHEOVmUhv0Yf4wpwKf6DB3Y4EDKTI7royOviJDNRKQ0cCbWnBktbPXL2D9J/ZQDA0xL6ObRzb5jCCPUVTQeNhX1du/q/MJJLxBlk+64M9ld4zZxc7X1siGjc+M0Ua/7q0TcGSmLIpy9Ap2k6U85vKv3dovZQHrNNbVNTA21gKazT3Bd4TBQ5y5x2RBKjG6uy8d5LlCSMVko/6/tkHov57GHfmnvwDTORPZ1zIdQITuibD05qf1Jj3OtZxY+r1gosWrGGG617ckgk49sF5FA9ySi0rzrFPRiGFlSniOCOA4ltOuQKiB2+OwAsneLWv1ag4z/8+yO1HMchibm6dKpusv2ioKQTwoiycMnNfs+9T0yYVZZASwzIPyPCrJYHjlrsV56m83HMiwkOANnYt9nR7pBrZ9TkBAsAwJgXYcmU12ecmsU4Hfx7jyiPCnrKaUbbc+b29FkFWrzpHVJTY8bHRkEWYUdUWWgKu1VUKZ3YQxN4hqHEzHNQh3tNrKhYxwWU0xaJvAsauMYODj7NgLW7PjPyP4H4F0+GLQg5HbEt+bC5LqU7k34gDJQoofuR4GN1KIQgHQxWQgtTzLshJU3K25Httqb5Fr8xn9C90k7nrIdc7/8nWk7GKCKVmIE3BBx3Vbi1EPCqur9sNhDUqvY6icPVTiTsfE8dKT/EaTkZXU4xm1yfJlBbcUJQk/z7ehDICa56qs+f1ylldsOVPgeV01qAwS4pe0dAEiDEM0o6MF+XTeX3zjmsI4S17PmXITA+fRzO1VYhdiG7weMnziIlJpAPNV+RP6DoPakRg+0sDxEQJ3o/+19nDLOlxMPVntLjaMGaszmkRVYeOEmxJGdvbJjZrU8BQPE8Ip4MAhXVCc1mic2JhSSZaKSE7avYOeZW19vHtLjv1bNX9JttrZMAysAftuMqOq2/V5LqKy6ycyQUvCqp5TGkTvr6Z+5YvNS1HizKGyuM9OvlRo49J/MqKT9Uv7J2s4crDcn+FRiC2p4GH07TzHdFV1fRU8fd62qU9BHu89ljFVXT1e2B3G0JiYbdGsAMypU3GyI0PDsJlO8wTpKwYAteM6FvKSA68vXASersSK5uTkB7NWZnYeDLhXDLBaOGusKefL0SdXaQEpenEVCW4jPc7Kisc1HRDEHoAhN0Sf4NC9j3MRqbrhYh2O4sDqMMDrJxd949W8NyE5zVIpz/IIzI313c08M8vbyMQKfydZNWTsQVPY+9kZ27jUy+Ao7bKzBpJkT7O5X1rVpOY8ZrG9iadsjtZFhThhMVBrepB9LYecJWT51IQ+KtfJ+NQGIBue4v+LMEbENdZ0wAmaR0+UW3Lz0l7Q00WLQR65QFXTrd9LlAa+qaqxulf5EeTUDtex+HzZITZbZgzQOYGvMs1aBM9iIy2y3v34N8PGa9ZfKuYQcEM73l/KbQgtRC4LY9mdJ8fltSr9ekM9bY3LpbsiBPT3fiuXkqAqvCMSKPUJ6Hzd4FqZBZKfgqI1jhLcOww9msBY1FozPO4MaO90qs5lsU2Tu//CcQV0b5Zct0DMRP1Io4p57v9TSFJ1DC4yWnaiclqM6GArG7TIR5h6NIoqWsxIH+S0GypKpftZkjfRt4Kx9pbdRigDwuEDxmAWHuxsriRsPAL8tgHdxHDnl3OOJdKgFyq1FeIVuoNYlfe3KNRSkpArWYPuA5GXo7/7FYCy7w+PnYnpWxjXHMQWnFFx2N/3/tsU/mVehdhvjuL2zes19XK1xMHVimTSfXnSOliPrnOdjhQeyEviHTl/fy/psuRuUvgB2kuPNdnzhjz3igRV1mMUHLqf/IRxDr36TVjXz/DKEOpqKsWshjyouRlxAeKPphq9yeOJKV6NeCAzEFCGee+WssHSui6n+ESyYX7MOhiL46zTbEJL70J/Z9hG4JWtdZU1ARo39wD9SWdTQGp10WYevN6KUsdlRi+IN47ACbxbfgrlP/1qxTGZ7K/PR4cWGE3yyHfcy+nStRoqDpmzscl62ODALOEXqhjBA7VNBcYabt2djd5RVg0E93D2doNWdkJxH8qAUmVtqRo4gLY4HWP0DjIlZ9AyYDK8eycHSEiQnXbKTBDRGRmjU0IHIcLe0e1EQJuumrRvwmYCTZ97aXDTzS9GSfc7xN4TGKR75Ylj3qkAJNGqXF4ZX4hajl1b8JkZnXYU6PNZ2qmxe2DGJ0fiCmebO3afVBf+mxvFu0VQzT0csqA/89SjH2l2njJbKk8+RMMi/QXeHIHElvcRNoZengNEc/5JaPOmBRaurOT430r2rNwBUz9S9GU8Wj+LRphqCnhA8bs+66tGqG4ZNxg6l/F8C1DbLDyG24+BdBhUCNJNkiDfNZVRH+zRBAjOZ3v5O6AIzhQPCjPCwwrIZeqFXChzYP64nt/iNZHnmo6mRVhTTDFMeRsucYrn1VxFyrKRXxaPUG64K/FtV7NdiiQTH58Sod1RXkQed8lyWfamKPTM7RrtnGEV4U2PHu5fQEk60u4DWMi1VKpQhIYJ4kqRU8AKFeE4s0Ly6PHdiEIKbDpHMSy6GjH/lBzyBmEgY8HKzyQC+X3bnmNsaNg4Rz6Sqe0AswZe9wIfDlin2bD21LqG4p05rN/iluBjdxOnWuPXE1VW7K/5YUoOnnQHAKFzMqHEvh4hXGzb5hYXOOG49vnHhcauc7QvPmJVXfPqfDANrFCsWRAveGXEIvrT9Ax/VCQcdHxJrfNFYepVrKKBeLsJ8zZHKx3QxjCNWQ+wEowIO3/Rg+NLfn1/Ku/jHD628v+2bW3cQvE0FEmmIFDQ+I2evB9I6zUx+FJXyuiqAq3qY/VsTnmoKdSfKPyZAq9PGayTZSidqJm72VHSFD+dF/8EGX7b/XgswH0PdRyH9Zgw2lPLOEvApUNtGBvXohbtpqpJB2AyZky0yx0FCY7pQmSvk4nxNZRYwzPwEdpQgPQSmdRuzQgTLvRufBn02+D+5T4xX3z84IR9DsGjnH0iT1uj3EN7oRv+Gw/CbQK2glKyX5IMlS3XyeS3XMwlZooch1tpLUqQ/YADwdYbhnLELyJEI/61mj1peGuiwvH50mkfbxK0+R3twqIpXvWMFSY0ZnUz2SIh0bYJG4ZBRpEgVKKE2296TQ8snDlhrBeil14P2WPniNxp97uiEzxkS86WFQI5noj+EEOUWPdhsFTKYACI+wSv+cgHHlyt8CEJ2OYI7KJaveS9PCz6GnMsINnQoG1DqVHlPZOMiNmEjmXpKOrsHmaC/djX0zzCpXAzXj/uon+f/8oN226QPKINznFzr3UJWrLg4X0RNIqgOL4iqd/2PYMk4akXuifjTIBOIwvRTCUXg/r8MaF7W0MSvWdZaC6oTMjkV645b0ru1LJvmbpndxNPkQJN/54ITC/kVX0Kfn453T61rsiUdTsI0Wv7G//GvR5HUc33A68vD0/V0xMdiLIJCLQB/Cjj+5dGgW1mmrAmtxYz46P8VTDBk6tAyZz+yOjwqdpp+LZUGEUZ4OZ4a6al0g8S/vktFGjlw39wjpFX7TdhZpKsGDYkEDaEL72xRabS7aG1xCWQ3zYls7znNoWvJP6DQ+GU0gXceFIrxGDskx8c2JFtPXmRM7OwtCTCwPAZuJQnVkXqD0FSPkiRacfrULTOzX7gMOudBhIhZkGPVP25WDhQ2JA57FnLrglMzEOB7RI0uFyDOatStNHr7w9+Xh02E5IIQQP373Mv3p3ofWoCHifNjNm0pHZsx51naHgb/2RtHdMqi3HBIf2MnmkIHXP9PfX2PeNFjplvrNZzJP4aT7nXmp9SUUnO/FhFp+skGsa4QiWfMZYQMyBbbiLft0Dh+YmZ0h8poPsUgijS/T167/QPD4QMOA5J4yddPx5PtiB5YOv6gosFUgetAjrNzgXEtMoee249GXuaVYdblbjFtIVh++5mRcBLPlVJRaC1wffox9RS6uW8Ytsy+qxL/Q3XNYGofz901PNfjW0WFhzjhHVIxnEqQ4OzQXJfo+0u0z16nuF9eAi2LzvbUjhBp+jpLggQ7hYewP8Tgxy4ghnuaugouC2Zdy/0aaMHP/NGd1Uw1PAKDOCNt6C653Mnf+09dm/ipMm78vggvzYv6X5ee/hp6DIg4UI8FlPIo6MuJqSeLUnvbHtV7vZ01p20jXuZllSEwedqelrP9hSTug/RL3qzrWVpR7PPwHj1hp9MDsLycfnZZtdNTZea6YRgu+Em96tzKF48RXamDNXXuIMVfRBRTvhI/pP2AO+JZ6vSeAeNTyeUo3n4TKh68MVtBxdw9VV+l8xwN0zQ011yJXkyd/mUTuHU1UmSKVL9w90XfhSb5eehSjea5YhojIgi50qLPDF8n6T02ZlC4QNtL28G1C3GGQ9LXQ79NVb2gsfYUckYwBQFpqxsJciy9xp3ojy2yZAmEdRpO54vcnyx+wEQQYjQyH0pKqe9+oGh6KGYzUGRW635Yart2+5l3YDku1Ol5crbVkwxhX4wDoIkTXSbigg5BmxOB/20IYS2EtPJks/mhn1Nz/YpRgfdD94xJwTEa+AEjwWpUJ+LPpc4hHnUFVCHhXOzEd5vq90PuqyqAPdr0BkW8H0q9+VfGw2Mj+DHk2AvIjYA/G5uPKvQl7HsCNZDK9NJdkT3udxbb/GK2PR9wQIC5dPBOZgqg0NJVYXuFijNl6DlLAGnYL5yEkkwQaZxNRYbkZs94vkC+8idDkK1KWRhkovuprAxN41+iATpVFhczGHj4FBNv0bQmZaGcz/lJRkDpwC1FmaqRN6uHIIcVF5IZtrPPRI+OM12owbkdauqdaehI8BimQ3mm92It8jItMItyWL7KUP1B53nTLE1haOtZH6UeAgdECa5MnOwoL2bvD5ujh+ONU97oG//1nOhF4vPuausw8neETxwVjU/fp9UtdbLP95qY0oXJxyiHmDC/bDVv+e6etB/mZ9xG0nQDNbZGFUSX3vSbjCvs8NH9LnkoHNjfhF5NFvI0yHfKo+jO2eXGxSbZi8h3fnFxGVLuRzRg08waa6dgpakMTRAW165TgDrC0TnaU3wMfR92sCmfDbSvy1IWWivw8ZAdlM2DoOtTIheku6EpJykcGQiNAyrq3MQrR7YPLbXnoMTZhPoGxHYW1A5dPzIMoIPhwHiIoUAyo8vhb1RBlIwDnPShwdtZIpUH0FW+nUuT1mvtNFaVgqUUlpOmrPj1Q3tBdGW2fSHC0MW/FhS4W/Z5kbbNN8RLeFnXBlPxDop9DSGX3AFvTUuvOrdToyNruPlnsDOjYW981CVckzpPsuBQfnC6qzleJy3JVzK95yEGiJWPA4bCywg0rRw/cr6P0qn02wWw+hO5dlaA2O7+/72FPdhyQ0fQSXazSYsUqu4n/CqTVxCStZkkTF1aG9UAarYIIJe4NZTxfabkdMuLxvcMJJByRLpc0B3LEV8uIpXEnMPP2ftPJIZTZFGc//q7Hfw9AObtRcLSrdNf9byy8FesuD4UtPwhTZLk5qa9AXRlgQP/4iKvoHJgpJDviiokWbK2E1prJ088efxwVojzvNELDBCr+trbr7cikRq3lRJf/cpd9MCUbFWhKs3U4bzIgUFjhib+1xlUtlOUJ9I75X/Oe/nGHBpxamdCVX5LTM62NZTJJnty7Eq6NzshVpAsvY0dd67x1JbcEahBOmQkftaMESFwb1oi2VD2WZuNYk7eBRmgoMO1fwHId13gHla30TniHJkEG9MOvjy//ivlyE1jm7qN2KGWABe0tDxe86n04P/NE8NP5iEmWTep/lDaweUDJMNzDj1VJPB2/EZlDi/nnAAxsyNuu9NYd1ZvSfmkEKUoWyIuvc7ow4bgHT58NmOpR7QeKQJKOZXJeU3fKzLO+8MLNYlu8pntsxZDYoCpUV6FxhXfpfkSfqzfohrnzEGR9QyzaZCDYNQIXc3pKzGZhXXUvUrWcThC4ds/VL4PtoYoOqhRB/vHThfXKhCf4uzlf2h7c58ZeFyNczthxMyiqjuOwZtdQhzcURVmVT0vod7v+G3DyjjttK1wat6SyOQasPPlKuIyBxk1ZzXsLt1dv9OeZSKe3/G2pIi0YoDl9jGw/xyo1ah2lF49j95yjBm8/htA0Qyb5WaFdgfayq9HmyPnnxDZpgPo7YDsH3TB2A10fhxI9GTyfdTiJSyu3/KOWlrw/3KsCiXtD8Nu/W4mQ+5RSEW7/SQ4awasVCkS3F59bXxRTfpAUxBGXgt/z85ZNU4Byq/5AAwII3EwFJ8XYBkftxBx/tjWn+YuxKcFpgCCV9vTkaSvjS6FhPVVRqrT7WQh1IiDJrikmg3HVH7aN4LZuXSn5rhgH1DyZwoFqC7hqnMkSZZXyKgsFHtZZbWunQPO2coIq4s9N56wTQU7k0Pj1kT2vlv8nI4YsY4D4eFxonusjAOTAOO9lbRxmjWKfs/JNpEGowDvTotqa8YaPyrZO5PHQ4i/5/BYXa3DC71SUyU4etNrvCORltZ8MiWYQzZi6De1TgWEhksKX5yBuOHMXsnNmWkCJ8Kme4l3py3Q3otnOAphWLwSnha9EUUdeVKlJZn8gKiB8BqJlSiz+1/w0vblKc4yNGRaE5B/jw7Cfh904gypeeu66K4SKuT/nTxQGOgKv5PW/06jpQtoegboRpUHy9X52f1KWtPCptmZV0pmNS4KVSiI+SwV2qAIz6tpiK3H/W2GcltHzRDqnzL/D3Gyft+ByUsKB8QFUCpnSrgf8/7oYeC56/qVV/vOiXuSpZFX9uVpI+KA3uHobRPWDIj2WSVrCdgFKrk0lTWhtzI4XlYfYdJhau0Zr33SWhpheuS3juHNDI7esfkE3r/ZCOgXGHsK29jxAddCofEdNmKBIfQFPMrhPXL1VxFglfIXLo/zuIHJSLFsReOiqm71CzYJZLuZNBAbNpUrtlR1OZoor1gR9qpnX7nZkqWRBGUSRxHDwLUFcNLApAykSBqfDfone5Y4x1cqeBULY14jNEaxgztKc1SamKdSyuEbUfEpT/gdSkeKDnXvsPY1MOUZnMDYxAqNxHsF1QZI22+LHzI3f2OE8eyoR1tNevYkh8UNkhoJIN/o8W+sjSwF4x278190igBsTNe95eiqREihe6qZAGI91ktDDCR7EjLopyyhAh6u0EuO07X+CV8dbEO2VAQbiEY5rxMxwmx2lqXGVNcGo/ilWziZrKZ3RnvyrGA7LZWvVDWQ4jovHYNHstwEdKxVQjyRwq4nh+GakCvaPwlts/uvJB7otY7/OzH1ROVjSppSioDrbiV32gO0SwSRGXcbLRzkMPvvUymdu3OlYBE6ZGZJR1yAd4zVcJMV45LPPUVVlqNxIDDmiYYH/c6D2dl7zJ1Qjgia3v17AYdvuHxequDlWBlt23FT743sO6hn2YR+/mnLPLUHRaOY0vJ15AHNxk3mbjFvTxxpyqKh4K7haObNN9p6yW5P6nSE0rUxI3L6p3r+Yy04nof9cC9USB7uKIplzbilSWP8JA8CVFH6IyjQVYuPqG2PzBKsQFISie5Ko57p60kopvpXVKOKyoHaE8HebXf94GE8bqc7lNN1NHwkvP38fpFjdTGln7KJr6GHgmKgKrsnwURdN2kgFvCOI4Vej+YEPEf9mUHphJvLXxaxdZvGYaTAwBNeM8e1IVUBKexoUuTPPbept3GqDhC0JdPHYWUZiN3yF8P1a08JDI24++njSeHhCMteZ36Qwzl1XlEdzqEVsJDaN9KqYa+3Y92QfFJxno3gn5YpvKNXUcP4GaWnVR6S9FJHPhOpCcyazqYWAZPLaUYze2mbyxcCs/t2NY/RmcBBD+bbT+jRRpOINs6qEXW+s8n/JlfG3WuO"/>
  <p:tag name="MEKKOXMLTAGS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qFHiboAhnyFYO40OgDW9etHQ3Sy44XTVMcMC1tL7LmNH8lNkbB1Jw9nduKjj94yZw/Me2WqwClzThRPxzPfb7U0Ezc6ymFC3HIdD5tkg+WW9oEick+8eg79QfTstLkDjf+LQpZOqkzUiu94IsCbVXr5OpmnuG2y/lFonp6vSXkY7I9Qlrq6INlq4OY8/f79GtyG69vBipcHf6bM78PGESgxtO49+cRo/A70kPl70xje2NpZOIjYoWDaNFHwN5TcsPiKMFKJ0OfKxnS1LLuRDXazaBZJ2DSbaN8/+dRzGzvS/15QVDukNfQO0lS5+MEkRd5a58TuJlKGC91WrbairZcmRGn9ydd+54znFfseGj5L3GZg88Zja8bVNYFCOoON4Z38OKFiV0mvfxWPF+ntRLW8s/H6Jq8boZ+IOuJs2Iv/ZKmqPSrwFA5hRT0oAD/hycIQRe1sdgAfSS4mltLbdTzL6L9NhUef83rV07WyF9hE3ATL/vqnYb0Ve5UiCs92Kfw8n3luAMMNhgKKbBaEWcRRa82H3iCin5U91xDXBrsmbcTWf1rPHJBetRnFNggPrhi6q40p/j6H4nQKJSJf8az3bjk9qBGJLLB3D8qPDQDaHRh4ceLdOEjoCjErBfpbUkluNE8oxaSlIrbSd8yMPYcgUwK/A5Mrnh6H9D/Pwfr+gJgM1taqI8sGvkEVeDxjbIYm+EXxb4tx/hSJqqJJ1fOvJ4ocJH/E0QIRs2HNAuJywIzxZFhidWHCUyMxIeQQdve5oG5zsoqyROqbVNxa7SgoNev1g0vHCbAZxu+AaMF1Aw6xdt6v0DaLuKnds0XGcmvNYy3/3RwqjIHOYcrVcq1vDAIYuyxgv49w9e7GckdMIvnGhfCFufA+5by0KtTpfNACKMaMBfeOJnGwZDAPOs81nYFlCDUoXsCkS5wAdHen4kZyOyR4I2ARPzbcTSLaaod6shY8ktobFQdju+TjhMZrdYK74UzQuwTv5USe3RetJzjX5HbVvoLjl07qnJh6mliBENNVPCNXL/adV+IoryzCAnTzcKTlAMu2/BQQY3CWiyCrwGevbySrP5YKc3+MI9+sst9kxkDNZC+vjxfyYdvIvnV9fRriJgpn5m6xQwL1MfQ7gxr8IcJlm6ztESk3GRNdRir6sDoCjJR9gB4tw2rE4jV118d2rgEZPXWWJBpXXn6VBMK3Y7ZXgBdYCkaxR63VoBJ8NlrHuHreWZhvX3Sje17BXdsMZD9DW7NYCD9IpX8CFF6CRGRUurGx2xdS0Up0gEJVjAt959wQ0TDLaHKak/pqUNAcDxIAwuwxtvHrdySHeCBx3hdDdL996EU/Ob2re8Euap8n+uYm/x8ngHqZuT3w5NHceYfAlxRynY050Sns46S8bcveUmoIIjFlsS9rYHccxmcLW8H8ISogGdzdMBVVB2xT5Lke1CJ7+6VHuRWBJoOIM2F/LwN7Bzbw2/vbqzzOoRZ5516zqSqV2yFHeGSDD9w2vcR6PfTguYxRpoBU0IAT/Qzt/nQzSJzkjO1FXzLviTC+mC0CcDE3VU2XQPRstfq9PbjMUL8ERU3npbrAgijLjxZA7EInES/wzA8uB7oVDIyU9OY2tku6Sp2KpKuont3bDCMPkt+HaBVJfsZwvsVNC0zRXqBIPsU2j0DdRmPdeUGxTonkzywJWeIta/zKBa4ag0MF0wgXOZ5PWAjbYlsM/c/iF84HxXV1VCloZbJuOOlFt0kMEh3ATrCEJuHHXtBqrtm97Pmx93hXc/ChA4gMaz9Pm/dVMJqgkV5WZzyjtzoAIhwrUBS6xDpNM3vTaOWobsXi2/FagDx+L6UiHI4izGjoN9woHQw1lO/ApXsSKEmo1a2PoHg1HxAvxwZxurdNsEQtnyvXvEiJyBD701D64M10xDQhNjc+NpW4wYCqZf/E/fUty+4cHcPR8/IQZ9fuQ8ajTDDMKviJDTPwowZPh/1Ni6ys+dxoxP8rPRBwWMIQG56WCFiX1040Cn8lKiX0dvSjLM4LnFy6nGQ+MNEcMScsp/35slazkDmuwtPw9b/iXa+knfzgaZtM0uaAiDTy5kU8Ei/i76q5jXD7YqTQNKjyMnkfD7Ai6M7yY/06p0qP1PCYkOGws4TmoPKdvh1VzxOGJhEwucpeW3tEveyMZSi7l78bRidjHau9TXf/Lm03UDlevsqdtEOcRfEjIUB5Aw8WAjAe3qgm7lk1TNtakVV5/TbcfBsKY5BptI3Yb7cUuNLl5qxc9AOv+KFkw/tym/VSvoA1RoWrNNXbwDTbIy4Azt7X2/X+zwo8PpJ3eLCiSFz65F5ZPsZmTGztKIhqWbNcNejGN+7F9VWvKx/ED9Ajy2QrA4/HTyeC4/6RTOBi5O4Vv0AVcPy/fd0Y9BPwUExo2zs1IiWWNvmLIOqFe4VfP3sDBNOHzshnFlzX93pSSzCzwDhviR2Dq41ir37P/hSvXzTF1WMhfsgl8tX9jPM/JFsG3y0QgLJo/pzvOR7bocvfmwQ6Rc/35CfGjNu/AKpkwH9a8vm7DkfvTpDjNYvVtmzmYblkhk9O0hxFaX1UvJXi9DTh8GwFZyKPcLvEycEpqkgIykSLqjTbgTmaSO7YDOjo7fzlfPFe73kmDBpfIYw7EgTENq8hPq5EvGpiGw93GNjhvn1f7jq74DvU5Tjc41N4fKQzPdOSAsGJfE1EWD89qxKn58K53HKYW9085pnRP1Pa9bRk7e4rm2cKwHzOtDd+Gkg9bzP7NeLTM3wqgAySIe4HMztoOM6P1NbHXFFtmoJ+q4zesNxudOSF1S52H3wdMqTuVlBOUTvRNEl5SKEERzT0PmEG/rw0d3QoDtYqSgfVFgFik4JBzsn4rztPYWozsqc0gxk1VPBu2IIQin9nQ74OkUV9gY43AYyZhLI6PuvOMbcoqEFGGAqBhYGGH+Xr3EKOWZ+5m2bdakW1HTDz0D6kjWsVPYLZQCXI3N77nfnQa81y0fVnSZfe6oEzHtqSXQauW3Oc/D3EPv4jbS7HLScZanu9EHAC0CLi+FwybG632YBZ3ruUKpMnboV+RI0vYomC9SIUw+vr+xRrGch7glfK5NuwittP1x2DO3tnVqNypK5OYbVkWLzRZvJsn34apTMcVcNdwzotdr3yclwz4OI0Znd1JD1U/yK0S01Rl+rRXwEjboCpOlvJopUGYCD3fO9EprfC+OLNDNVXw1JF9A9QxpeaNi7MvNZH3LrgZw5tSo+la02vaxsCQOtoDzmOczNf0YiRkz33hCWs4WWLufHcxBaweWCSvLS8WuyQAQfRgz1Kthc8lw+kTVAHsFIeZOS9jJ02iY7r6Dhyr81UO+j9dRr9PnAU+Nsaum7L071j4cxuCrN4KM21ebdZ0lszaqLomwufZP/IaV/ufBMcylpE5RzmLq57aHkGSvbuA+jByywsVihViUHM3ZZcJK5Oj5lntQkfLYK78xbiBRtrtTdglqCM/NF/SPXJN0NeqLTXoYotOsy+Um3ue7guax5El5EMWnk4JJs/Vy2A0HjKd/Pdjb6k+Va5cTl4OgKEeJ01zn767STRaLT0LuyhC5abzry017n6pRpaGkEtyKFThxupE0w8Wo/i1YlF4vdhKuUFUHaMXHmqgNSmICV81pSu2I+/jfAvYDXSIHiq9MeHtB3bC5AEWSNnZGNjBva4Lmc3SN3uUuQYlisalygWb+0Ogh/EES2UnOk2X1gKApi+Dg5IQ9itu8R/wI3Y9ymkDVsR22kuR0QFOgHoyStdo66BXws2vYdU5zJNYHPE9GI6IVKhdgNK+RAbCMmdaxnQqNpsPUAtiUxz/5XRzRPVbpK8Oa4Ql+CQxUb2UtGhtMKajUxuueilD4/5nCq/OA8vEkLmv1OamccQ84fig1yUHdyKW/ZKtbCrFNdIEzCZAoG0TZcsQ3slzNNbZutRdcSr0W2X7F6ZBoC3etcOS29AvBM60HyM0A77IzltMDI0woxPz3RZfv+hgWsTZp2W0LaCGr+V8FAHJb72UnpGDXyo7CaPhBSJ2HlGumoo0UtTp2QicqGHD9PW8mq9h0W4azkj4cU6vlX5A+1JrkgVItBZWXBq940nfYQAxA6PisgGzPLIm9tVehHy32vvz5orj1ENaTLu0Gt1hanD94nbBgP+KDFxm+1dorfwR/7RZdZ8XTNXVwP/vaZTzjUbxF9bnp5QXQvYIbFrcYhCNyboiez4idBOW1Z/6MHrNsp5q5pOT/XY2/lNJgaarTXygHmLYH4X0qlm63iiYK6b+qYtqVcwtALAmFp6/dkqQP/TGQQXxTJUovPw/vUtJR52+LGSaDLwqI3V1HTb9Z9NCdLHWs/pmYID1pUrIKTu+aYXSBOol+OhjhAYxHZaDbbu4AZIq+KmlK5hBPAipFUMVWNrigSGlPjm0j3dgLsRsi47I1qmLxVhxyh1TLTHKO3BN3bLtGIF5uzrRBIX9ZX/mCH8JiRFBkjHoiZx/5e80dm9MF4H696c21VPaqCnNCg69I2AwHSiNtl3PclC2tDfiEPvT91fw5WkW/OH9O4KqPKqaXdOcxxmMFORFpz4K7X9Z7ZjAK4iHCZF1BTFia/oMe/+b0B/46VErQtBlYYvQTt3po89BlYiVLAoOtm9kFd/+7O9czHf5uRcbZ+gfPv5XCgZpa1BO2ceB5NY2RI1o26Fm7dv68BMLX2GBWlcDTlwy2xvT/M48cfD4EA8OPDa75GJFZerIf32GqiRaZnVdYSqMT/+XfqCWikkoM5LjFh2uRGko48fmoaxbp7m5CVlamddGp6NCBRO+D33ECP+MM1ak5u9Yaybe9p/t09Dz9xsqOGHaA40Z0INVFGw4Bjh+MqaTpy+wSW6Hh/yG1FFec68AIyglbQLvC12h9mTGW4LKvXeAQHj4iKsRt6CiSAQk1xbhgvOQVqSgQPOfdrxyNfxaT6Os9RHRqfjBM0bfKo2+IMHjmr7PXUQUaxHTM2jUzOdbVeZpT7XQZZVG/F8tzxRfG+jePx3iYaY65zbIFdvnLtU49nR5bjrgqw0pdYOefTI3X4tf9YVsBwYiGnZTMV1LrD2bDR96E1blDNrCS1VH5doTETCpX8C3BfevZqPjFlsWOE3VbeCPfVSsc0SonXolDDGlzTKCFgn3NttqNoRYWRRGe7PIw118c45/Z0M7POCWApLN1XB5IjTOY7zMuMJLAnV1e/GRvINx7EJq5IGHtlX1Fv19FDL5XeTE/DXpPYrWKR7stC98F/0pOQz1yEXi3tn0ZQQHcWOCmzkFqNmYLX/GxonnKWVoj6IRQlg7PWfMfrRpYlE9HzUWEAWDpBLu4AFISOGQbV1JRrFlsTHwEM3XbxOga7bYTyGPWJ9lcswq1kQuwyzz95yM6VUCkViG8ZPwfmOGvybuW6r4DZtfqCIKfiCHyXBrt7D6BCNVB8o7PNZKcOkdnHmEviPa4yPHLgpxLnxwmEhIFBODgktzZjobJQkviaTdtRLvu/A0GQmrq1RMQLNGsy/JYn3bQp/74Q6P5cO95o5YKY/TrIBJc/KTgdToon5ckpXwKsSUOI2KhQ33SAaJ2KiF92G/+/Lzqgvv77K6cHfnolF+xDvjj8EEV2XzbiOR+PW9R2OhYQAv6Jb0k7FnP5QFNg8ueqxw/QQjbYX20rcpWCJIGdXkSV5xUftCUEZV/JXz6SHUbFXPDUJDtwx0QrkNSnjldhgqD3nZ2nlYvAcu156bFNvyih/zSVn5rlLe9/euG1hXd1KLbK7glxo8KA1BWOyVb7Cp/cthhJU4Y0mZFxnLPK10YNKolYmOgecaJ9NX1AT9nvqo5Pfk8KvZrquEsydCuRkXx86ccp5T2kUlxESWPJIzQKCXl03SUWE5YXkUs2ld29HpdpUKnXF1Sl8H+6B2KreR8TKe4WlulqGTRPArqZ3IBvAiiP4V61MED/U0wDGEu1FAE3hOt+CZ0plBVVSPO+PFhjY3mMTa9r9ZW9/k8YbchoDDL68/wbRyRDbXnkZMa1feAtEbzDYnnJ7Tjxk+sN/d0rDK8+8wxdSzT9Fw3INzZ9httfVkA0Wsk+MN7q3Vw2RV8Qpf8AGeuaIU80ESoYf2CxBu0t/m8/wO30f+wd5gNuYJtfZoJr/5tAQzDFN2TQe6vrmUuqbFplvSksdFRHw3eSH5WjuETv7isLNj3HpqGCFfkfyWNJi/8kXC5Ss36XEDDBZIlaNmio4pWV1fu7g7oJv8Ks4BubRtBT/InerRgtPP0EF18VjeZ6I1j9J2SMJVRyg1/5Uyl9OhtT5DCIPlb7PaTDwXnpYazXGia7p5MoPkmpD4Kncr/oGTlHYXhxBo5QEix0YcCq2cGB3qHzr/ezxuIW4Mvb7tzAwqm6HDaxRLC1j2O9rl8ZUsSqhERmrEwHYauNUReE7zMJz0O5YQHyz1QtG3TtEYrbdxsKcXgLkdGqe9UbDdkRstGgZs9v6pOvUofrpgt38NX15RBHCG+KaB2PcU/MGYfgH8zHoaqhSBbW3t3RRybUcuuZ7F+OBDBaHyEf3oFZhAYvB7CzIFxjJq+bScICaMST1/WqQRqPrJt6OtjqbeuLhrzK07dWQT0IWgALWWf16IKGM77aEa+9j+VFBY66KOyFN9N67yfG4Yrbc5JazTARFQphMp1T0dCQUlfiXSHtTn0iPswxdz0R1VdSlsFT8yZiC0D+Zn+SXseWNsEH3w3054tBuzN2JfND20VoHm+d/2ggzWVvJVWFzmz8bX9C1T810UtYuEvxMhjOQqnp4VHjd91yafz4kiQBFB07xoA5/U3n8J6xFMQ8M2b+qbRAzP4ie6MDPXCajV4onW10mRspS8/jPPsbYyT/O2NCkvonUndXizix8x07DQDgyJ86dvEHh2om0QXuAovg/f1wgIHs9L/hf2/VV450oCuZTA7lVEPcIBoUVQdEl9uk/i4+pk0W0FVGDtcGXH0kJ6E9hBIiCZ57G3Rb5i3k3orFsiv3uwvcL/Y6TiRo8ytW8zGs5PPoe8NHj0Z2e5AsJcfrvI6yPJ28crQS/A03PyYAa52qnMwHlaNgwASTH82NAh02cgEvYN739Jln8B1gc5mkhH1/Xi3PzdyP96l29n+ddIMtDozHYyZYB3NBAs4vvXzEdEmyTe3A74QDHoO4RGwujyLSnWx8Yg2p8zrMha6czFcQPrjI2wUZ3H7Rnf7Wmb0AvmfZ8DBbCFsqHAP+C7usw8l2NgSPMmFIbVDqhFhRazpvjWpzBaq5LWoYvZrdVQnqsXzlzkfkSlOHvF9R8lA75jOffXBaKV/EDRMYC5eFOHkrm9jnIyNLTtnhSE1PteF9hoDiBLF/tcKGRJr6GmooUdKuvUusc2u12Vdf4yKvwXMiXzgcfbSqQ7N6ljphX+3kQdnjgnapZI8Frx7quGWi5hw+jQ3MTQnyBJEqjen/SsNHz3juhGrILGqoJ9wN4MX1FraYc+4WFML8zbvFP0Wns7XqmPjhJ5gj3sN5YTOQ3F7//ZsrC0j8LAxI3cH+Y6YOvoBTdvHUFDMW8xHFhxAZHmD8bgQ3Mc3dPWIEiBcO3DQggUqNrEZLBn5qvLwfZIHORqvLf6EV7m4PiJOkNHjlGSfSXfVZW4eUvs0QmM2NAWnoTv8le3ymXGDfxQMXU0JcDloKKK6apNHRgjlUZX8vl1fDX8t2iESFR1hlX0awDCf7JbNOa+GXw6iigz0ifWvEFXz5UmxXY7tQGOcX5b5U7X7OTzN4PfN9qKldgD65dAHnS8/JfattHdRRqS8iNB5Rh9VKxkGPkc0S6RVFWWx9COkUxkig0PiysGLM9S83VssJWga0ik4b3AoMsCUEfhYQaxNZmaMt5BcPdzt6Q+Z5L9Ujn47gA3njVAXnRwyDxPjDKXjT3KXHScL22xXQRxnjmNWBLYMv3fBDKFKbfQDbPzY1D6F/6JJLHTXDlFqJxqFPPu08wj3S0JNnpB/iXxHYYETTRJ4x43KOH/87JW9LS+EhzTURmT1xt8w07Um/AGC1bZqAco4yRdoGB+dsZafYctCB3DlQDO07KbIUJVzUHKtuEvL/yzlb00wsThGOtSgW0lNjzkrmbPIkONNAGE5Z2dNjZgCbZ6l8q90StUA0g8tomI5p3HURYdmsBJUSvlXepgHnJPqnyv2qrCX7mTI1t3aEcqy78ZDeJOhj1PpSQI49Rj/XoTifPRrRofeUiQ+kQQ+MuEM9A5+sxLJuk0v+8qxsWIo6ta4lS1z6K3PQZGsOyVIXI369yO0mGazNIT/NxYNR2dAS4QN5PNVZiSM8MFCOfHhWT9kYoR2022le3mmvRnLGuTS0rPVQyaHijZIi1WIeTb22pbtq/WhhejcpYc+vIA4Pv2scLvDNW2RjeJSxPzY9wCE3ASQDOt8t7KZppuK1JbaDaGRce3CeDcX2LFxlri1pLGufIq3MUGT+s5YBoz4VH468W3HSLIyGIuZ3pa0bYNEi2eJjb4Rodpb8WnoNGNBNZltI6LcHw0TjQdT+MFie+HpwsopWd6ZLq0JNQK3hg61n9sPr8dz8hwxoj7yhHKg9Yqqf7axHXI+zSPwHXU31gFgBX946MAKXWuASB86/wsHGU7L0Cc0F+h5TAmbO6LmxIdDxe41+f/4y8ICKQ2f6n5c7v5I7WKVB07tz6tjkZGHCrxtFrth61Ub0ytZIqsnSqsaxlNUBAbg/5L3bq6ZMv7mw1Vkf2b9o12WRGS5nfEV0Unjmk4JuPwN37cqRfe9/8EgyTFkfxFU5KbTHvYZavv56PEergA5L5frsmzoxOcJiFAzP4ig/tY78McKEERpR/kcUTzUUXE1lfmixC14+SWloejq8pszSO0sRdFSisuu+mu+j0QlBNsJ0uCn2j8q2dB8MryKPZoFzobt3oV/CaSonYW7AzXhpCVs/EiB8rQoVRVORNM6aePmU8DfOmU0MdYzsFclJsA/rPKQ4Bk14Ko5KvSFQIL7JyTZy/JD6pbQeUKhBys440LJGhaai5/7g9JssARSDwA82I2091OkbJ7jk1QFOFsB6cZd/bbjSE0GmFdEutjHMT/rU32uPulxK9VX7zEimIckunKFgxfMTwESRn10iUoCMHRAC+qu/9s4A8dlMiucJcSEZHp2eX3y6u3lbcTiu4Uo33DDI23tV4Hnz/JZpsu0Q1AAyyc0xYtDc3Ao2qSG/WIOGtwj8lXYOy1roxXGJQNl0WVMycS3doHm7Vx7SNsW6TCNnzFGc6xzuYSRdkaKNZR8HmRaXj/cmrmmj+bZlOjbbzRKUEq7mOvUpfmBOnBTdR0fYD4loeFjFWYCjXXYgWb9383kES60LOk+O5Moh+NI6t0LClLgWpC36kEbZVcPmuvWkESppI65dsEdNe6OUfrpD6832PnfUMzVh80VqWRQWfB8oxHw/g2nKV8395eb42LgA+eDiQFd/5jlQmvkYz7apTL/Ka5RuVz9lgnEMD+xRX1Bli6jLq87WA+s5NospwWdP6/9b/VQPdaPXVA6mGrbhLoUiuwZvyCL6Mg4WazqzOTntOoOCHs7b19fSytPJCbhj+RzcZMorE+RFW/+LKx/ghrcXNGq6M9JBdlTYRlZyVSY8DkaFFFYVVOzkHSanY1d1JPQmfL27vJcRe6x+ArqTK1iRsjObBvU+rRjhEYiyoPssGgQkC+CLRP2taGwRvTOHPj32sK/2nBJHFyTi3f8dNWyBVZBClsI4QTifsmvjnHmzSVn2f1RWYeZMlq5xmcu9Svz5BYs5WYLmGI6haYXSqaYFJeEIw7j0G8LEhCP6V3JikRRUfvkd8jXerLHpw0r5KbcujsL5P31LG6sAFI4UKM7AZRbUqquCN2ct3gpGH8i1cI3GhatVBiy3chq9jyiMCvJze0xP20NQhUcVe6HvnqEU8ADaQLNRDifm8E/WkokDZZ/GLHHgBXm+uWIVyZ40Vm1ZU7MbIldLpzN87Loz/h1HXivzdO2NqKmLfio5j9ErXcPQ4sVc8LZFMA7aAkGXXJozuV7XiD5GWKv+ywozZ3Q5bXQTM4dskGBqIIqleWoD337D85Uy4Wpd575caaQRRhXr9vMyLvbvYaiBn8DYmj9CjX/zFbmD4CdxG4IMm6HslcNDJzJ0GX/8SCmovSZMA1Sy6BzvDlTTRUFqIysSFL579l/DYUPYbGOgtU0/CS8P/xtyr+zQG1UvqRwStkNvQmEbcEgQefLAI0B1uBhjkn1YiNBhVgGLGvLMOFzP83Uk+OJzwNLpVgSH6s+X2Mx/4BFmoGKAizYHLZ9Ov/bb0KLwyOtEfwzp1sv8wphdrDi3gjIhgLK4dEukrD8KdFpp0aoLVz4P2G0v8NT8l0f+Pd21JqPr1nPIZeDBiAlDoi7b2gnAQ6jLhRLzVVC4ZdeLKonWbpNcQ8BDKl1kLSbPPInUhS34TaIm4mzqan3E91ua79dmO3287jWKjT1Y696ygZMTtNgSFegNvG3HF8e6S0H///dA8oeokWzXOryIvvojN2fKKA3rVYly8w3LBcgE5r0lw7OVqiDdmPTHdZ/hxv9s9IVHUlaFiP0uu5iLeFq3qb7kB6lo4SRRrQY9PZTGl7Zu204gljs0+2U0Mp6yRPvlxQqxXvPRqsW78azDE8fMOevE/lOwbTxlG4KZqBUfNXF6KxM0vyaBZEt0dnFxFb7TIrmcgX7JuCp8kp0vv2yQvST83nDm+09DgeVUQXq2FkcFfADO/7QYbo1VuNbygL2EXlRPr/VXDldSGmNYGaayAKnsfbtZS7IvATh9dGze+fZo4mByz/zomqKkXKejITejJgyYlHutGUzXxl9G6QpkwI4z7OgVt+FG8/EmRj9DMmWFpi5/QVuPTyoZmCoIhFO2X99W9D9wC2CvKc+n83LlOEDt7r38AdEmoX3AU7WyBfKGZuLKx2c3eHa8aW2SmiIpqHiR+eanobtO6Shg6uyyfyeqVQijWGduKx5f2Xxtv6c9/4/mG985kHbaJ6DvAjK1r+DvuJdw4S7MIw/XBRONu5isBi8v9/C7cyz3YHzkIo/orC2p3ATSvIZVl0tZgXBrqMYK/NYhgW3CMfTUFGWv3YCC2TtYaa66d2TP4KzzU1u21VMQBFu2nLZyFD18aO8VA6SbHWtWke0yqzD1FRr4L7ewH7nQpk+KeXL169ae6ZXvsNaY0zZdxe/f6u2I0/43dbcy6q4ygRuRAItPl06xDrmqYUput1CYmpOF4kbvnDlN13zbefuX1d99u0uFaV2WDjBQTBiHAkjDASB4wC3tq13l8BKgCFosoCMOWiLZs3fBZRc8YAw5LRDgYkn/FzJsQ0krwnX4rVMzJhTJezMTOW3L/xN0GVtb7O+wlJoUchPTK9dIU9eWYJ9MN77a8fnGIP4BUlzvgbEihMFSi59ZUPUJP1vWPN6K6WFjItlIyPwSDVj7h9qkY0+m75pT6CRPUgzNd6PVMY29aCt1HTVysgLHesopIwNzam4IwiTkilxlSA4fdMbEPt5W8LP2CpDfiNTNjXrBkjKOXEwXmdglbXXrqzy4+MrYH4dPR38IwIKATnXfSBKuJPqouBr+nb4FfrdOUP52zfPkRrcqfv0nZg0NVDd1jUaSrEeaWa2ARPd5VcJ2rThRy9HoekvUERZFfzrFd49xTTGrQNgnRqKHyBSk8PI8i10XN6Xiw4qXHItwydIDdzPiz83nhGMQggpCviygyL7u6kU6XOKrHSMyD4m1tC0mebCqEtVIE6q8rgMkDexXSvWBh8bcjk5HBvZl82el4bY32Btum8XTotX+catRAhFu1p2pDkW9uIMhBBcsapgGpxz5re69SIPCFduSVOnbh6hgIkANHzqd27z80eZHkOeoPEZnG/Xz6bRha+ReUCJkeRt3cioBvgRvmQjL4EJG2VProcgNmMwoBSJao6HzbPOXxUbL9H0efVVPJvUMXu0lsrK2gTUe93UIfIQQpoXAVe031e5ZFQybEjTGqKqLY8OmTAMOsl0OhqGPV27hT6mnjYC2n3H07ULW3nMXUcKO9HjVKAFPeAO5qfN8X2eHbNEQ/8wtfMM3X95h5r42GW8MlRsw+XyWFF3+gOJlmI/lj3vCfrNwJk22SEQQjBF/aqOpVIHeSjNvDTJIgsYU9n1liceGanPM3WfifTmOiz0dkwi6f0rwpdTFjOKFJ3GYtqB8TtQrXt8qAIs+aSHr+ADevUp9KMzU+p/iAu6zy5cWS1UonABMsRV1aANDF5udrKEzoil5mabzWxgmLWj0feTaZMfhausBlhGTwRpgh/uyw128wGANUG9GjGngB8CqP/A8n99tKnfLoTt6iE0vkzrxNLuzUWgkOjH65HxL1KIPoGOdmFsCsBEwnboI8rxE/GxeszJsqtlyeWLVU3l9Y16Ek908C89nFD2QzzNdNi116pi5QZqzvx7Yb31/2WdHPph5aVuN1Du0mxFgXH/wmcpcAMocl6IhXrfXD7bmToWWbJvn1y64jIe3asRibBWLGlrb8/H0uQY9ONF/gqyHjp3gz5+rnxBvx7PGxSvZ2NQ3Ivuj4h0uaCHGeBVPvZJACH8sTGjXkFmkv+rIdOCeuK4lQjBD9b36XRnKxh8qQxeeuzCYhWESMENI3REc6NhZje8nq6vdPd93gWYNcjndsYQBjeL1Nk/VEkcRr4zRJdbYJoM21BYffPtrMLV9y/C2vUR4qwAKqOs5LT7zB4UWQYcKXdmeQ+Bzzc0XBR5hP0kuk2Um/5RYyaoHYQsr2JW0cCjNnrfGwiWugxA3nnt5cOm7G+27745c9m5dzOvbyjyaZ4RWawyItUdsz7O7OYMJ+BwaDkNYMsojk1D0ZGQ0XM6taQ2CTvnSbbFdvX25FOdiwVpvwLqb3qtHMUJVsMpQQ9SHd38WWxOEgx0mtTB4z37vgGTwV9rCPQyGvmBDdYGPMGNCe6zuzA+1npKUcWS4Db5gx+CyTPlxl/6KUlCmn5btdkouW9xrTKF02OheqpwzrdcWDdySEW15OKjnyY0NPgBtEblO5oWYoO9xL31KIMQkFTVM3/8rud/2vIVCEAIs/Ep4Nhhcj1MgBIJfn7VG05jGfUlMyNVfIs8/n9AU4mK6gm5/6IZKhs7vZu+tt3vdHEX7crqY8Pbl1rt6hTOf99OWa5tbpSSXDZmj+Ldb1ba3GMoWP/ORuQ1mwe2VClRTNvxe8GkHPf6m/VzIvc0ewJquXDaoVpQpoSLJuUE4/lsW+bof4EDMQfo0j0+s7JaCY4lPnCCBylwbRmmBIJE6QLFZWAeLSSczCyrmrcTx4EQYwXBmaeUqZNX0ERa8ZNrDrPteTAOsbZ1vm3Pvos0SewzpCYplKUhMHbOluPuyEf9P1bVEuCgFacN8U5HhJoHaO8xdtg8+n/W2HbYB82B34f/RKobp1eQSTCKY3DEixNl85J/GOX69RjSWqlXbBojxZ/dCpK+p9WSd+VD0WdRcjIuuXhQbsrxQXIuU0KPyTCHkb7KMh4KaO8ilVfHoiUt5eWxAYx5NOlQWKRTr1eaXtR7HWEinEx3dmI9F8DPwTiAxzulBnSXnBfac8cO7Nx3qTB+6xEHBeHn0wJTCdUDh+ZBft9OXPQSZh+hdIn3jUM+D/x5K3RGSvmZnT2y3nV3VBWjsQPeoSQIGP7/sUG0jpsnKHvy3LIq6NnsDDBwhdrC1+p0vZqtcAS4aop0c8/1gxzg3VszdwRTriDdOYPOFHwtRHxS/18qYvCa8YvgHpnRGYsspT/uk7Eu/+d+76Nax8YSkNNvdr/O6E/iFIVvnzOdUEne2OsiAa+MWzqLrAjtcRFrMRoz2lHEeT1wVM+zNzxVGJE69szHu77FOvilSwrLugyUljITxaiuZNSVyYtgtlHm6k+VbwvgIKd9lRzqKJedmEXfGrkZKP2foRbMrM6i+QP0AkkQcm33h2YkZG2stBLxBehYQ9wCvsoLzAajdXuzXuYyVbDTqFnR4KieQITC+5uoaReHaatLmMDcpzOLyrvHniLxdIeprZCgCv+UGAg6lBov3AtRhTzy7hEDdFcrapKwD8xJh2fkwArVtmfaIzTac4Is5PWs5NqfSOe9gePEx7qAGB51vFbtevzitj6dOTi+VxnVQSOZqIsQ9WUU2chGEOQVz/5dytVEqH3AYJn+7B97QmJbKhkHOPUeTh5VWA5cMGfrIbjOxUsKz2ESTHtOMYFq1PbdveQkxdQ0SHJo9uraBxUn3SmA/kTiMGdCmXQSiBNQk0fgC9PhhB5gTqCLG1L2otnvRWFafsXyqhhVBSuE/ApWDvfq7caKvbHFjvM0XPSx7SW23SEGCzpYZ36LWGixSimsw7nnF8/cwPMSYLOvLSyeIKyk7Ogce56A7I2reMO8oNJpK/IswySYAVR7w1APi5sUQGQ7LtwiTWW8NAFSCZwEQD3y76pgNTTHysPSlDtD3SE/BbykfCSJ211RO5+VTkPeokXu6Ft9Gv6wFxFV/4AMzPECDsdPh4DNiyvFGdvatrXpYGrLzsGN+th4IZOwMLrP9PxS+SNgVk0OKSk+r+qz+RU+GRd/mq46O6k/K3IzwgFEcafQdHgwfI3GoHFMImvooGagBVq2xPkQnzyv1akeqaf5LHoVZZyMoJDxVhzapUOxliATh5bsymFNnCLPgiGt6iZLVy8AxdrpQW4nzc+XX3EOhRH8+DDgc58RP2i0hFjfZ8MC/j3LCLzkCJhr3sqawi2ExJrYymAyLqgzPHUNr5saZziQCX+XpbfC8ksPczKYGdWXbGKwYPHLX5K/71PpfNTPfupnXr+PAK9LKFWRJe47ED5Rx4ZkarE/O1t5wX9WZzzAH/PhfHjXLC9tFpuPbb85B3RW3aw0EhfoYUR6SoQTC70BQ3NPUK+ATkde4Fd32JXyPAtLLpVntRVc8G9+aH2z/vABUdCottIwM95w+VKrqztNIukjjPRcVlWg/MP4db2Ji05U6ktyblwTTxqj83GZEek5qiJMwENTQSZp8LomMZmytWQLmEtRLciJWMncHl0YiagIzBw9OJxbO83Po5xYJ6R4ett+yZcCQ8Pcyu6FkLppJzQibmGAuS68zzJr6bIvm2RWo7Y3LonzMddfaOrVoutwy2ztvknrXntVxCKlSqCwTOiGpQN5eZSJSCTRBfDwGmtGwt7lL3Su2NWpl8QypgPqWebtoPdQfsaHoNc4lFnnrqXOSos327m9Q4p9a42H3e7nJuWyaI3BSfUv58T7ySVZFmb9NZ7zDe7r5bB44OnWI0G/IK2CC3nwUYbUtCkaDPdTjmMEmBsOw5xOr3/J692ZYx3qCAkpFwyTpo+EFolYdx871gFG8OA6MzApNWnwjuXKE1mwBEBq6DYFQ16BCfbvNljrTNqW194RJYu8Ic8frNtwfv7EBqzKvAFGUDwvePBCbrwCF1a5wb+tcltxikmCcT5N/0prfwfTlo/XAy99aEC+WOWBVgquaJTTLm4Ci05AruqxkslGKeMUnjv4UGDOaBAzwaL1h8Uccb6LsJUHs1DdmMhz6lulENzPEj3R1bHMTl/oGaqrTRGNs766bqKOuMCnIjHs/EnGK1IOP0N2POK+RJIUPWAmLASOcruYzFb0qSoHyXYFU386fzebon+AFsQ3Wn53jQNzBGC7nr9NkBsEa3EabFadxg+B3NnzgryuulaciNwjPZper9bD6TE5vBkfEo6LIuLjblQ0AWPy7p+l3zxgWBAbhmhCvordeaL4LWRrtpLDYQ4O+bJXzsnIseh0oKEuALa2AMhmsK6TUWyuOMeyFW3bDZG15r4vmyoyVl0LnoQuscfGu3YOdc1lVIwklYMIE2uv4N/5a6L1PywPNNh/6yNgZ5ndM5MEQ3n+B913uQ8H5IChGShdTykCRj8izpAZLbulXKAkPOcI2/Bf7QQVfDQs33FIviaMXNlZZzB8bCFS+5/3RnL2dU2peeE8ZwcVXXj2IluWKYlbW0v79fo1jgndq0iw7GiHah6F0wCOlFXWsgWQLr1QYqUSpNXa7twFhC1KdCMblep93uRWnFVdIo6kF4ixbnXPPnxw+NOckhjvMdjZyd2HZPyAdOc+R6jHIhgFntMUBFgHebnu0YCvfpOM0zH7654VvPfrMornwxJ7131COQanDb5CBDyVA+FFGFtzF6GxkT80dwnWp9YZeMr5kfpjbQOXM8qCBZdgzqykCel60FhQYCR0myCejHCm9ioe24YlDk3FSbQ43L1yHiz0VWwD+FFEddEk9Pu+laX/mu+i1EJegKUsOWZ8fZPZPzng2y1IJpwaFhPy5HhmqFhC1kyZsQqZDnHOJrd33QKZ+BeuyrwRpereGRayN4bnsJFd759/YMSlTHEH0lWp5hM808IycP84f1YgchFZCyo8UUkIWKNn6T9MkLxUfq4+IQ7k0aFZlrMT2nKWHoXJawyBARYgpwh/tczvMyudzLW7TDr3NNls+yjynRa0XjhYazJpFtTT6NZlYg875doKik0JNFL0FNJxA2EVMXlK1MTfM4aABPVD0rHl455ygfWTM+QSpEhkldof/8f9gKrtmydw1A7t00LBRPfXoVbPBZlfAb9qc/4v92cZ9ruHmsMwGNQazkAHMCdhsS9OIEHnJhvJnb8orL2FsVcWOvwxIR4JUExHMuu7CnVIlrVoJ9MRyufH7W50PBKd67JKAPblolzCE+OIK5ass0Q8xygaoHnLz2LNeIt5il64vAU957EY6sCog5pa6C8Jq4BUTa9epWsttYrhAL9vJJreQFBUkDpVWCcJo0iJaqsaf9JpsqeWgSU945V049F90ZTa/Wu0/yUr7NYfV6QQCjJB/KZVzI1MpKwWX0WUcGJ6D1aqMi14H4NiThLQ3calpL1igvWp3jkLnOgBKXH1RXPuAn/PXXdL2BkKO6VsyV0ieKNYuXpJtEpQytDkz1R76AGVF7WPNEL/vV3Pxa0UtIwHko9f7AG71egfSIIL7qlwH/PDtwjzSOmimRqCd61fnaQt+l6vrsTZ6tQFJZIXRwnsBdiT24GgKqFIEWDACELCR7bi5BGHeXMg0mF1IrXZ4WEGQzfH4FwpNltbf0mDcIwGARiGGUad4SEGmIInUXVm8J5PcRV316bjUFFrtzyCXE0ZOSICOJnO3cJmVDw6Cs0D7DLI5N2kCIErZrezQfHoDRXJR/gW95+8IdrsXJ3/J00n4sYFY65/ix/PsVUwbULYaHhG4PJfm0OWe86xhCWGG/zD97pfZ2VGDgD9EA+ouKj8aUBFrLdSQ8jcDPrGImkzXJsSkvuTPTuTOYtScRvvgd8C4iol2nCkEf5ppYQtLGg1GLGfLD9DJUOgcSACZpvOZa5zeDLoXiAIuVJSH0N5pJVnpDmNz0GRzvJuBjvZP49Gq48ljG16gLbcG9sSKceY/Yk7TszTjeNNDwXE/48UVVwXjIsUTCyCrK2DePUPhthzRJsPiHov7YE24mkAdMh5KUeGg1cS+qnSSVK9ciP2RWIoqJfT0NLkNRy9ci8xNPUZ8RD8jHt6TlSr0eebgQi2HDiNlkqx7gND+v+tWOfr8GWF7h8BEUy9vT5bqdCYyMsqZR9K6YDFYQZwC7OseOcWSO0LkIKyYQALUaztxe9t5LNYrCevka57/sFcchyV2o21V1PhC9CI2gB7P3n+LXF+B1AGJJ3bTu/zTUuXDXvc7cE0dKFjhb05c228yiiGEplw2G0DjbneduAtIvgk3cfa4kuKu3MlsCqr3F1eXcVk8MaDubfV+bwvEeLhMIsub+16V4YE7iEEn4RH3UEasK5SKF1BtZqGB5LgGXMxp+5Ae7Mu4hhnAmYfQmMsoLHqmTTYSJC/Fl4fShGYaWMx5N2BzUvlJlVtV9VT9UlvdvfmXCfd49/5RHVJOrWc7XCii46UGnZBod0iBw4VI74pyNP5ewct+D20IhaOkNVfIwaL7lMgyNICTLCmDE6vlRQHjQGGm1EzZPeVmsTlMLM12sRVN4yyy7rdogYHGWeGylKKcdb2rNRF5islXNzBWkmYwyva0Jbdpf2S+A685yp9cmic1MeWnG4xDesbXDMy47tNgtTLFOFBldMHBNY6dUjT33uCMCe4qVfkl7dbrfk/6gAsjm+I3cW+tOQEpiGz9d6sQdNI8iUFW5fIROzb95u+hx6r70iP112YPDfULDU97w+MVApHyAngEWDIuaEdjJLSPLqC9SIG5F/QzyeJqTCqgZJQy+4LImkk3o2BPE+HYi5aW5X0gappUVYmLwvRq/ZdgxX1R0TnFdq3T5niQJWrAtTHlQigN0Tk+KKe/eYRlabI5LSz3O0fzXRP5TL1ptIWE5WA1F4ML9EQcfsc/bmF292hE/nLa8CNaN+83e98ZK2hhxZgnLmZDUZiOl34zJw2AdzgwJjgLTk8T20oXG7onJn/i21wLU/HHd+dulR5sgQ2x0zLkFhN5NrJY4q+p9MbyPvyNVs5p2qpGR0dy0pWB2qXNyFWes5JsxjQb9ICHwnBOnOLjSrnWOFCq/mNhT/COwZGNRQX+UbjH5XkJBk+vWHE4shjqtpa8hlDSBrMdqWtSl1BA2abu1SURZ6+7Jz09rGU9MYFpRks9vfGTtk+BsCj7Ti0xv3yFuBeM7TcpzWMSeskoVuFlzouJ/U0zpmT8KN3MELnWh/+OSm81Uaj6RAktn0RAY7lvMMBTeKnt21sBc5mm+CRlEsIwS0jSy1rSX/lv1iQinM+r/cvQuF6RXfpwN0/342K57ymhllfPaZgyAE57OI4K++vCtqWDuMBnbx9NELU2Eny/bdmR/WGx9mMVfOGcwDEkNi2xpKWrjTGQaabiBjE9rF8VJ1fCkJKfFKdy4jA2yewTgix8jX2aU4nd7Rlac0JcXqnAPVaeH/GjjAc4qF8hv+UXxZUdYwViLOY/Roaz5DUZBFdYag/S2Y8vxB8wAYr+VCCl+HYCuEtuWAaMNdjnCuAct6dnc89g28JWzdMfv5Vq9daBlovF7uLgB4efHH3N8SVACnAu2smsGKt1e6a4mnvixE+m8JZlnJUK9pf7KUs8/nZltEzmffZ0dTEN1OJTRIPSvFuqkQpW/P/QjQKncAsmOGk3skBB2Vq9mt2z5VuXsKenZ10OwVT753R4DOaNgMTS+XSDr8lNjkF/SUlbeuo/T7TpcvEVjuUqLy9i3kBV54iqvrJyG8/XBsBx1t8ISZNObWjAvJFXL8goYAeWG/53Rs8ptM9S90ijmVj/19gY7LhoXjsV+q2VpcuzYpGE/p/AqyGMbuHe7gbWE9qU97H0+zA3z+RuyP71MmPoS0aspoyBY4YG7CUSf+Rr7OJEnTfylFwDUQMOMcIA9UoRcKZjsYyclgQJb5kOM4iaY2iIOWoCTpcZ7yyC3BMO8+ccNUW1hroMb/iwKjvk/fDHV36pvVfHq8DFgcXJa2moi9LCUoTx+cwHq3karmjf8b7qDI7bHY4MaVvaGa1Qk27cEvD3uB08Q1V+ThyVGJzxYxzMEEaQOA4RZTeT7rIA3cbt0E25PVFEaLoaEeqTSPe3LDWWUw3cl2RPIrHxxvgYxmX0SID6tFSk03+2n+LOvruoIgEO9rNUNBRZlXTmCX37PDMy6GQ4XtRXHVb+RESsAtfXxmiZjUWDAeNXKsBOCl8WShv238DdL73+OC1l+ASBTxxW1AK7/j/qM0xNuWac7FQIcwYOajVaiW5L4YOGvOeyRoOtORUda9oWso/3i7YV97toYNwUcEAaktMigEvyZMaVpy7hKR01awVAQEQsbaPDtIJGvvkJA4lmi3JNEKEEB8nZuLDTpVx3VW6WMS0/oxxZbYxktaygxDxpvgSbW9BrDyAaj6c+HNuUe79RgNakknGmMFowvnQLbYLauSaAFQ5feoB5VALGC7/2+y+/7+WHvksoQoaZxuQWCVeUdFqmuJHDxPz4XvKgqa+32sgJy8ZZrDDsmXkNI3IwiD6Zq6o+Er260je0aAL21XzRcIXNQlFCfmS0byGpWCJwAAE1KxQ2jH0kWZHhzprHyG3A9Pup5Xbb5LZmkU2beZh5mV5DshCSHAi5VGhZrvFU0k68rLktufC3nq7abZCit6jwQgsnxg8nDvfvAairgMmyX+CDf4WtWSck1PKk8G9JeMQSvMPADmy4HlOZKbVXfuClXq2aHMAc6kJrAEjC0fT1DyzObKOO20op0dYojMddp8vws+v0YYPuyIJvJyReSQMGnjHExWfD20Yu0Rcwv/pHDGIzrs65cj/vcBsS1JhqWLoWCBOa27AqiNZCyzsWIBE29Ke2bYZIz4daKlphUuiPyo4miSnNCkR164AyoqvwlnpYFoAqV6c1HgkXtrCFKRD/b7iVTmcoPypqtOvo4gF6cCe7sDiMW+VXmiQcKCHYrdQKdLWQ94JPXn12GBb6j2j697A1Kd8Mf1FL0cQi1o8+N7ordkx45PO7JINP10CEGZE5YzrRVO1zwOM1uzX5mdGbXyjt++0XJlNZFuk+Ju675hLdTSGsrQOOtG17j8ZTONH+bCpenJ435s8Wtkg4BM3jYQkkyYIxzFlJYblXkqmRxi9/rGzr3rO0Pkji2UpHBP3iC7AOX2AyeC22KZy92loJXN7TmQpDYANELxDkbg6LzM11AG2ilh539UjnCUF6hLV6cug4B8Xql4AgzWcQBG8xGi4C2drP2zfl42zGTj19zaz58x7tbbiJLqHktgMfbMrqvWXlYo6RRWEQnQlQA9EbARk85DE9RO2v/2AD9Uq1AUtozOBzmIvtZ+BDATszvvjJa+3ncPCterEtxBragX9HKwckKTiC2LAJ9o6XWa025w/+eqUXFcmmWRLDWcOlNdpaW1VC/QzRChDnYMhlf+0O4ngQ26qLRR/fGK/6AWWX8bE7dEhYEI6jE0EIWjF8ATf/VUS2rSybTr22AuXGADgyqy4XwQyGaklXhZC7kbtyKZpIg2sVzTHdYwPzdHvXTXfQwPsD0chpDhW8/Vly1WNCpbuYJNiZePAMtyWg7Ll9tC+0nsHHaO8dLjUXZ3O2rguBoDjkIWwBLv7GtzAZWWpATrpFbXgn2ZiKX2HXZHNu4JovYhGlQpdH5lReZs/VU+/N0Qaxr5RT7YqXgZ2wG98JIQz+WvfoVrZxfZ0kZIa4ixLAWt2glMn7Ksj5MNmeH6/AGIjDMxJ+kAMsGKMcSUVKazdGDiJ4Ksswz2VW8Sg5HFM1p/xwGv2y5ggphklZkL29q/Brv0umTCh6zo0bL/km26DZQShqP5txcKaSMoDqas0ZLR9dgxUV2G/oxiMrZQwFDT79erEy3OaRNJiGmTJYjHBymGJc3oCljBadCpVGcbNf1rh2tcUrjktyAlur2u/07XYI52dOemYTOIURW1g/WUu97rXcTVMaVrx6siWVZ0+qVRk7nJdMn1+8E9EY8OQkhhojEdvS0560ymmtENC31G6b6/i5Zz2QY9Ai8bb8yOw0brv51/irZNMttn0I2nTxCkuRlqZhjyBItSzUYZVPTy7JHE4MIz59RCUElObs00eOZg+YH6eWVTC+wTBOLOcDX1GM36ZSPAmaj5pl3fsOpqBCBXwHJ45XkoktZIHRnqVmISD0w5gPNX6UCdBKPkjwPdbvJIoxVFRxnzg5MvI7DJWJbuOO8Thx5W19MGzlFVNOIOgpNnrVpkr9NfbeUAb7OOyZfaoVsG2ZcI6apCOSbneEMws8PfWadpXwqzNAXyW0HxCEJo654tjc4w2ouF7RVtRuIOr3iVwJWr5NdjRNUUg+9L/gN4EVd7Iwoul1KrBXQJNhOi4aOTpZmdV6q3DLdUPUFT91UkgO7e9ahWOpZaE4/d2EdkbQY/kfkrLQzOkmhU1C9pHUrSCspqeO7jO2NgNk5YEKtEXTvf1JKM1Er6b9xGjUovuXZ6MstPJ9/yC6BIvFbYY768NLtTRKO7hmuwqAFsJC+o09riMkqxNeN5Dt4wyW5LnVWhQaulaOADN6eVgFIyE0A4cp8z4XlsrOQPDhzkScf/C41O5mTfJSIplGgqPZaWXGksHbEWQ4bpuBuXb5zrgav82cHfYu6okjWubB+vQnZ3nMtkwypmvOZXN08XRbpm1Kl3pj9C2RWKrGA13FEUSXcId3FtS23EqTGp14meBxSyPxgrWW+yCeqvNDCpQYup2eD83Hy8hfrb8d6zZhLZL7h3OA8MCGCk9GDw9dawJ5E0ev2ELVNZuExtetSG2S6W8X4sEr5SZaD3DK3GeT+E6zTn5O5MH+LloohLqygIh/BIBmbOKN7HVPR4akFxIDk7BVCuNdnGPJd6HzctUFNr2AE+SuTV05E8KFHNsdkfnm23mCksdp8ub81JdyVKpW3fF9+vp27kjseihgYgAodsN88Tf8sTa2kOLiEarmEWCY//Jf2k1dPn/UVhv/GRyiSW0w0UlrI4jDMrXMAE6ZNvhcybDCPOmOnok+CqS9ROWrJL+3qVgm+pVaaYg+wMqY6c97WPdk8lyHSd/J+VgAWrRQWLBjZV4ZCod7LMjhPXRUAoZmyz5pEyQXbszmD2lx6nb4ss0VpZ27oeZfh/ggP0JygHlUhqoYz+Jinqp6qWpgKZkUJdPIKtdC8Nglcye6uKF68ieK0E1rxfPitIV/DfYlwQpojtXUrhzjQ3PHTtHq2XdsxJssQ2lQRNVIY9h5gMcHcifo6bQbeOv9XHv2UDMwL8LvI/dA/q4C4P8nqpaq+hj4Zw4XHbXumziNGRlDmKFN5NJ3NpOYFkOhBdO6hKCLvPQuWLyJo3SwdN0Ibo1ADbVo/hAbAEeXO4ROvBiSi5r8sQF8thrZpoAA4fdoQXAMdPQhDQDm4/3vAtQa2zpFPt+FDqsk5HCPNIwXJUj6W0OKfPMb4QHsrVBqazTbhWr7K2vqbKBXSKvMM8Pe0J5OPuGqmA84uAYMnr1U8OYLAoAllVejP58Cm7YlHTzsnM/Qy9RGryYNo7kewTZqtThPhzY07pz0koJth/b+8PJlP/mjmYqdrbL+hZ5R9M67A3Xk5MhioWrVLW38xvHnpC35vOb8G4NjR9IkHL58/v1kGzl6r0cmUp/vQUj2gbDnrE6nLvMyUfm8Y2xWiWkYZ1xX+2Gar+mu22cNskUP5+OgPODymJiXWGcQ0u3cyLqj4jj8t4nvrfWiHliHPBb6KHltL7pHpGFO8HNUvIpgLYjlry1ZXMxtb3FeBRLieEqguWHOehcBLDbvLB4qlCzHtoPMzJXRmTGoQoym2vCOYbz/Gv+MdJey5lUZzr/3aKZ8b76g8TyDDvtBH42YB9uUH0p47xED3aAV9EGMJtvDY/hgP0V+15o9WHjGmAmdTJ1KoCxpkVDKo5Zlx4r8OlQ3SnGw7VLYmsqQv4UouW5nrM2oBooatS/+gylSAjiTJqiTXlCc+WEMYlIh6nh3m5+oQMbQy4waIzzZfIOPGMeOFXW7imR2s5WHCF9qQBfu2/Y1NDXnWUU82kpZVabngV8N7JF8HAU/zvr3/COPtJTdunIVMcIgLA+xVzdssXQG7eEwdm3l9oj4DFQVk3CHqJ5vNFk8WrN9/zGkc239qTiCD3B0GqIfqhj4GB3XwtmRF9q5exFV83eUBl1xMtWMMu2O2+wn6FH4z11wuf6NmhMSSLrUu7pQ6Wa9GBemlizepuowVsHcyjgEQ5atdVup7WBwjO9gJs/VBIO4vM54c57GHTdKjrx1WgnAN5RT+D8+3zUEMRmKGOMSrGTnhOZvEU/zWrmSpq4l8DC/3E9f/18oGXPs4Sv5OqvjC3qeIY4A65JyypZ/K+NN3CNdct4+S2HhGlt8zA0g056yAXLooHgeT/mDRhzUGrLXvSckPj0tXylKsS+AJKwdRnMqFVpSlI5AKFSkGmqhwfaaUvVL4dN0u6uqF97+8hUqYdOqW9mJ5sYtz2BepVsKRsqZYYQEi8iZhQ539Li1x6rLpYxMP10WWbhfsh8GO+Xxih84NptASvwBXpxHqiSFe95hiEtTDOG8JgrUvbTa7CHLlT8K5G5bzF09kw+vwz6/Ds1nC4nAqEItNgHt9bijllS6FMBt12TQxXpIiwf2HFkcaYiGQ1entlwFms21QgPOMobD6Y6BL0BN4mQz25TINEhLYZXKuXNPJs55fKzWlUZV78/0zVeGrrsGeJGIr8b8/AW0zYeT4PNqE6TX05shwyaRBhjbWYUi1TiXXIGH1eL4V/Gxkeq0KLtPbXb9mZqFa1D6vciP76xFCMXdg5FBe4/nsXdTHEm6eyDfDpHab9Ai+RTMPoMzEaDliFpACw9PmgEoQL3YRV5IdkScQ6srTkZVyxCvUVl8TgkVU3kVCZnrYcZMq4YqwqgMDygKUvPK/tidTsz5ViJHJlhJP8YfjUxA0GEQX7F7FvOFfz+00o/3DzOgNy2ZPNsYmk9P1Oh4WRh+DRQg6DAFaATiMJsIAqg4lhAKY0lFU+DrThoLGpIYj2qc/FLAAQmx8iwtT7bAXMg+n95X/UvTclN+//H5qp7jxwcdpjcOq7Ysa5ji707Q7LHtRIkCA/PtxjB+pZqt0OswYMEI4VMI6AARX1RmJAgbEVyRKDKZ7fe8BVXm1FAcfCn5iuqS/wLvqjkdfzxtu9XBEsxiVQGtQgs1ZsN6UislJu/jQdsLf0ZIRwvlYejtFuBC/wTqk8cnwiC3NXWPtPrLXV4C0iJGIedgjWOAE5gBqb58ITh2jgjeRgWRNYhXBxXQsl0PffEkgq54VVSPN1eX2d+eJJRFkqY7PworEouElfVMmKB5VHVluKkXmyM1Xx6kURBRQb3LrbapFCXnCiG13RmPH10uM4E4J7Gkni2MBt5yMFeue40nFfn93xraU9CRgxi/Pl79oAX6oMeBIPmhXnqkgP/Y5ISPSC+n3YtQWXhOQ5EkHXOj/xbT+814/VTiXMJj7CWYDOHGUAZK3QEY3hd4C4sIszyQnrv3ChpJlVma3aiE2TWl/II2uoIuKh6W1YcPu7h/kIfyEsYC34LTq4JYEk0wbJlfCDJqEPmxZZ957iZlApx0cCrSmxx/p+MS+ujs/x9Y7FomqRpW5nJzy1Q/f2RIBXaZJ6QtKKGUZdyt8mGCo3KbWolVZqnS2ev1AnHJHSKVITSntutRsbMRHG7wuMpKcvU74hGYAAsCB3OX/C4+Etmdy3YECn0umet8prp+Hf7TU6jEsZ19EpkhtYcSnyxV9LCFfHTh2Zo8kcYbvYsi3MzmiZO1LwaxusBKb+21XMpdNa7fT5+l5WsR/2pFauuj5oyTIHYWkWnuRJrA3zASw91QbWsr/eIAwXvHBszTzyew9BUvhqd/J2Hb2sv0Zltm3409B00XSXu+uk/+9hIjGHuMA6sG5rwQs0cOmPSMJDGxOBQdr8gyJNw8RE2X4c+IwC06S85CsjGWv4gnLvHsoSob1kAUvop67ohkXpUwOFQTFcH7n/kes2Hf6J4JPOMleVb5zHYbZzC5LFQJ/WZrpn46Whxu7dWFOXHRnFMGoMJn3N9KPawRgsbyhrLX3aRa+P7qGXyjY/fEjlvsQclyNb1GaA3bQIEg5pUcFkc9t5gEwXwnLIidFt4TOYBR7adTlBnS5Il8f6/UbS8TtGLa9v6+HVqdN84NRXD9uOuL6RokjvZgcQciOeLc1ZxEjEjRv6BlKentLjaT7en5ZEkXGrmrj/T2SuqqtvtclPsf93TrtfJnJjE8WaLnRH4YfioWJFVS9OR4nBwwI5nmxa50wUsygScrOwmikHlcuDgzVAGMSjeFBMS4Z2yVwkZSCV+/5BTMvDru2t7ldphU4uBNPpb4KzjML0ATSXA0nlUhWy9f7+wsm7XxRTFPbzVLvlOKC7bIHv5JWJYrMxoJih4UFn2WOG22UYKTm3ee63xqPFAmff3aBM5G0AZRBgDb4h/5toGMFauGpyGiOyyScnzHs+6Cm1aeQ64UJ0OMl9UwXggTiIP7IJFPho8nhecKuMXr8VEQ7OvEuEhRVvoTmsWWX9gWvnyLFF4cLCd8zSrmqfr+NzzAKR3uFBRZK5IaPnLiidnB09nx+CeXDbjgQfWFzETo00J/xRPuEMa9Yd/itrf6u3ussiqaBSQEjnrzKtE8KUuULOTjN6vqZsoQzY2wOQYSfmXiUbUR3DvNe08PkDNNr49ynFJyXzdf/p5dGkicB7ucv07RubIAmbmofXZ0pJXjDASc5Xazeog9mD5Gphh9VRYUvKOM1PWXeMhU6MkLP/mqu18yij9lrz8or2VoVBhsmQDtQvda1bu3OVCaQTM2BZS1zZmrKxDKZR/Zfgi7fR1il3vPB8NvYJWKoASgfPCsVnRRWUE46HATZzctwWBri+07yM2QluNKtJQ8M3N1cXxc0riyVwXlUiDhq1b6yr7iC6bCBfL4sYyPVYVEOLD9eIdwsPtTdMAzS6jopp3VI4TUDRZmfN4ecd5IFDHGKaI9VMIlzYJiw57ECiYC22y9fKBFaJgRbYPy0r0wu7RXMNmQnegMQdGjcvWXiN4uyCg4ES6w6EJ5QJjPCcY2tuZCyZ09uIU0c2pmXnJx8pTBa9S+VgT/oz8SX4/KKwpddrKPVR4pjlbo33FRTion+Pl0Eypf5wjWwVAcAkOPPIe8JEQUEX77MJsmaDCwczQKoh3fd0j58ulOKtUKpRp8RCuMldOgyv6zzJ2pYWC4OXhGM/TZYKCrTS3HcgPFGKnQMk+Id47eeDmVX67H4fL2EpfcP6x6KpyrYgpeMcp5MdSOm94cqa7l+sCGAV0wgAtr0FtGShYMosVh31rOewU54VQVioZ4BldIDjM+daAHo8krzviUdBnht6qIgyiIkTCc2X3RLmDAvxsck9YNQzNqUr5r2gDTJB9kVejT+P2edyrv9lNATG4l49NSoxnUyR5cmFGWU7iRCCnWcC3Vi58GFWeK21+kNfdXqhVbu5yEL0Xc4ArQGPohr3yfANCt4DWgpw80SASM/epWyaAlIwm/d+VTpuYUN2CIwRprhRJ9WbzMy5TST7UAcOxa8K9pRMXjKPknM2d5qsDgoax7c3pq+mKMNWf97XMd8a3cu9xL7G/8VCDfifh43KYI2wIwOF751s0EEqJg1Yt02tKttdtVLMwV1N/N4LV1pV82N84zdjSdeBl5DOM81vqea53Mqveg3klSUq8dEulxX9GqOX21a6dUGJOR6B9/wFIL3cpebOaj8aMU5tTkvXy150ekVE5/9ALobl3aPC2zNnDFrl2qHjOhL1IQ1RzBRofEcAOWhikgKQiyDB6482RZow0yUV7dXced2IDlyKz0KaVOv6iFNQLt80pmC7POsjEy0++g8i+1GYLQS8TfalUcLx3mAlPDCzwMtC9Zdyds1vapZ7h1DwFYOSdOxrw6SUjwLNdLWGPzZfAMv/T9+W1S5bQ7lOA/Xj0Q0ThuLhtYPOhqph7syt5iJ9TH9vBVLV5JHowDaMuB8eiqEOLTjv7q0Jbw9I7+WEkqxwOEN41YKGFXP77cmPjAIteWHqF644s8M70I8K3Vqq9Cm+mKqfex/fz5Yuj9X92zo8xLCR/suqzsJBOIHLKXLjn0giKLmAo9cH14Ia36kWnXt5FE7xtWSFoLwf7ULuncepgGj/o2oLbFrI+gK3HTGWQdo6wYwPnBKKNDm5Qb1SGxrfDLuPdULPlgGME7Rjh/54Hbjxg9Dvy15wVikloWiS4bBd/Ib73kKfZVj44wwWgo0Rgial19DUTbNde4kA1G8ApKQRlJ2WZ2NA6YnAZlR3BhKC13IPxUwLFyACI6Koqjt55uUQu40lK8GPNEuq3EHzHNwdlD+n0si//4yE9v6/u8ZM1DbvKU7HEzGL74i/SACgdiRNUQ63K/gwrY60Xm+7G97s11lodQfP4jQz3iVmKayVUv2sq/4Qio54w6BZEzh+RehF69qklV0ZhdL3/S7OiYZv7nbi/pDrs9csL1BFExQVhc07tKZ4mvXiaqF/bl8YrFeSU6403mXAXC6jM3etDj7P1HdOoAyOSVx/Z5oUwAi6HV+kY+5tmmkMTeGEyERYBZ8lK4mXRkWG4LJKZCPZTJVbfa7nWLO/QuqEctYovLo9tt28RtIzK6cQnqCUAYNCzFdGrh+FvumojrAbGT+jw78Oix2XMle1zWj8YXp1uolg1WYE8+tl1oKOvdVYzHGM5kC1YxltWw1fwQT2WE43t4w37cjCzYis3dW+dZE9W9uBzr4vX8GTpBplKJwWyUEC1RBqtZV2zBJMWW4wsROJUbSyrkiaURMk08c3UsB/v7s3Lix3EJMlDKN7o9j8g/goXiTJN3Luky6IRGKsk92cVfX5mnWK4pC3M7XUicDuZzLQSNOOIfIftUHym2AQmNiJC1HtbiW7G8FUavJujnfd74/ul4nmGH4k/qK46cs2XzasS7C803VgmrYyWYj6NsnzZ2n0wgyzoHQa6untT0Isgzbqa2nVO0PPnOX92myK686DtkC9+VUfqKfaBDuHCnAHKGVDUevW2QqjirJTN5BI8+UYL8wvDUBEgBVFAMImqmZ7nF/096v/sOKaTW5GjeSSodEWqWgSHmDgMWCwShkEDQUIH9fkW2HufnZPprQ4DPdahFs54eq+5Jtg6GBsTAiDIeVTIjHFOYdLk92H+g8/lNb4zdhxuju78A1WH8ze0SBROm3lo5aYcMI9y9lMaYuQJozc7xjj01zAS4vZpqMD2M/tEpTbn9zemT0+y8GwW4oNzU1Ja7gYfLJQEwi8ZyU/Gp5f5lzkVlywm2YpJ0vRw1FFustGApbP348QWhnC0nx7VNjkdUUAMY8ejpgFE2coa625RrJTF3rYmZqAI8fQzIPzhgwMNDvH/6fGVUNuqA64Yt9d7/+gATgK0fo7obPc0Wtx/Qizw8eTW5fK+tRVahtXfgzs4V7fvfCEuDZSd1bTo4C2GEidj+RlI3F2v8/g23CQEzWj66hvUCR/QkO4jnpKMnZlMUVWAFJlgJhPLlTFj5INFPxBNqalu1rOVmazN4d/tyaiiCATrYFn4PNdDqlZ089ZfbvsHXCEPTWyuUHbHFJeKei4LxjsFJXFsbcXXBs8d0LqR74G910ZG78nNxLkcWd0QrgbJX2CJfsU3XiKtAf0Cy4+yzWJDv8CBi6zlR/HArEoaWydzaweDUbhDPuv73mRq8A58LnC+jjf5F009zZH/pWTjNcOkh++Y5CsrCU72GUTPwZ175A507b5MbD3IshCKB+autg0JVtuXpcPNqLn7qPXTpjeXCPzIks6myNoZz0fB910MdX7WwfIYKk6zQ1uNIpRENVG7IsUvZPkTQ6CMZzuX13iMP6XWHkFQfud1kiLmZurTbpUOZocs/PECC7V4eKG6heTNsYET1HVa0BmYASchIz15znPkEcxmyTCeLliK0Gdfhcog+nDcSLhlKT9Q0aiMKFzZcU39Fk7TSgqwce4/I8MBe+17SNf+2OiJ9CbZtx2iNT1P7hmGPAeL93bBuU/JwCCcew9dOsr+6t/hlbE71FblQbi/vjA5hQZ97Rc/rlSEF0UYX9PzYO+GT/7OyF2ayyrWxZeG4OeEo5IRJE2zHqsCBftjGvrlvghNioWDUKwBylnDjSNsQ+9Kj2uGgQUvYGq95AWCtvwRTWsG/0XXghbvveD2a6ECLAzG+f1BOpxigfC5Z9WyldEj0Nch/GTvFYJ2lZYNgR54YJ4c9cye4AU/iewwFkMuoIHEJrHpHBj1PlQEo27m21baXLBkzI0o7rwJbMuPKKEa7uAfHl+JwD+MRKPcpV+Jadf5P8WIQtg0VwksQQVzf5zHP/XJffYa6LHAkJVX5BUSkcUC+2rZUmX284EkYgzBk6ErJpjSIWWEDzrt2VuFTKtL4XOA16rKhEN0lvcAfAQ+O5JQSf1AlT7qy9SDx8E8aq2a1TPobpcX/djDNhtKklbTNHclWO1R0om71xgdkpd72xyYpXuRqSDlaonOlzJ2qfQMCYnG4sBsmvrofKNSJbnowaOprKx5Zb3TnJ89Y1uBcWl9hIfqoIyVt7HJbhKKA3Icfny0qBc+kMMMVmy+5OSsOHHYclS6Knz9WJKTrSbrCVsA43BjnZ/cwBNv6TzCjM53x3aHLBLVvnetPK5X6M8siJFoXr2iFCh66Sp6/abi/e9jR5n8lSWJzvDic8VTzJaFx1ZwsUcUSpnPOA8nNHYeJPiOWdCX/tME/XzZwky/1PHHFo2S+7zAkSnHm1BD8AuD3V84egzdxOM7rAQ1PxDrF8b6SAFVPkC4UHljfCDKONV7qCBnltW6z014R3DTdMj5wZl24hZPwdmzJOirbtF19NrNFpwTTAj96fWvsFXS8SvXbu+2AT090ne6wQTlZYKGq+OZC8rnonWgbI0DNAlOYeh/gEGtWg3GQC/D/MBNsn2mius+ETePDQQfgYdR//13mN7b4FzMhhngXBZHQig6h2ttKxwpEqN335XfHbQtvtJfx5hesVu35Lj4130/dpqsNJgIupGv5mxVoPiUGSsobg2v1vcwtqfkWeL79v5lnUYG0IJlaa2NU2l26r0SFGMEY0twWCZdeEFxIHLzy2QCM9UYsSSUw5Nk703Kas69tq/kiUmjeWMv60JgK0X4i4RbJcYvFOgyQz2Ifl8IN9x82bUB+yNa1W5OvBwdZlDmk451v/esoMJ7RB0SgvedI6zYNv1gcjnACjoVmoMdNhh6NR40ymRtshzQZdfNPgM/P98k2CgFmtrC/w9hun15/VhdJ7tD87zgnAB654Q/i3ThoIkMrGHbbPur+g/4teoXev23DyQ1JtkliZMY4Io2iJEjUNmCgZq4a+5fHVXBNbx34lNRfJuXDfLaX1bt49R0/ILTZjxpV/R+UtZahfA6CWVsjB6rDdTogc2R/754MmeS5xNas9pGVdi7PvOInEofTi03Vu+rXMD/kMlwtnrUREuy5aMEhtKSiGlaIr3wAzZfU+ccEg2hVY+JMdTEdFBaQChm2wznju/ijRSL/kSALozFF5FI50ZeN81ORyBptHb9encUowCqGNOzkIQBAXXQzMgJTI8Kp/v7NfxYLLCWWWVUkHWvhyKwqyb+GLJOPkmTOFvWn9TjgxIl/Y5M9WkCk+CruHBllkC1+WktzeA4i1sSc+lL2XfkIIW7cV1T+POIyRQCjo96cDh8tpoDA7YzQI+gge9d1IzkfPCCBMUKdoGhXLuWFrpLhGxr52Se8KiUfZVFmbEyBmzSZkKfvdTWr6s9wFwDJszD2Kr0BjCO2RtAV0yRTa3p1jZAzWDlcd2ykC2jbeMkw2T5+tXUsbomTJx7i9BR0HD6H6fSqIiQ2ooxv0M/1wgdPS9GdThaLTkJEhVAztSDwINyhHInNJIydZyye5pmwdNzeL12N/IBfcerXqZidOaR45lUqWb35VObe5LQHOHczjSnyRNfA3c04H1avEllvAGcNlLYKDkNXJKHTDxNK8lPtIh/HKAG9g5vG4nsmAMrtR6E0ujs3MQ8N/aYMNHrdz4wSz65jVMEgz2BZBk3VMXDr0pl8jErTGxhO0YpF48PObwh95xsu9HwhB2Sn9rQLkFOglqQ6BaB39Alc2pITqrF2+Jsb/epZYiJDqB56fehsSVL3/X6SYbTpI70HkwcvaXz0Xk/APXS97xdq3pkZQNqUV9EbJ3ZXlLljvTb14qICBXAS9l8ic99xB5K8KwW+vkSd+xZu+hn/CGptBaykzUbnuP1KTezOG3irjHV3AvcZoPbagiVTugKZvRdPWjRL7liR1Kof1FIKUefV+NGmw8Vqn0rOR1/aTMG3Ww0ZMqTZWHNVhu/OJMNYYDT68Z48I41Xey3yetcIeO2dJgdPoZT4UDV0SI45g6pSth0oqq7UciHngGpZ8Pab6ztznfFzhGeidhbhBcDkU+NYNh7uwx9xDWeLmkVCP1RSVa1GRsV/riZL7uN/rfSwUmk0u8P9OI+y99o6eIQC2yoN+XnTSsJVaoKVODjkn4u8d3ylU9MrhRl3ou6+DtNE8WAGGjYD6MqRmTf38q2/5kZaqZsymfXrzpIjk9hxlDi58/STpiRRTceRP2HHcmqR/1+EaMKzukcaYLRIwgt3WKeWWjDeova0CJqET4lXtkVZ8HRO7twis7czbLF2SlFnNsGhCYoQ6KexRLg2v0FlxX40DirmItHALATWqrrn1eCTtR2I0rRGE9BPjLF4Zc0g7Yw++17HdakETSBZQ1eHFDnxzY7/VcHXfaG7iKTASgU5OHAxWa8/20gmO+oErQ8NCh12aMCGczA6IqT+j5jOtH3VogexD0CqvJnTzcVDSFWWi4IHHFTO64RXB7NzRlhFxMIF2RQN4ZEuxcFs4w0vMSNNdza0z1dA5wAcQMMOXYQdVUId882c3EUjO/c+VBfcWNIV/EWIOCmJznu8CDSwNsIU4X6Jm8+XoO0wFgpBSN/6CivD2w+5Gwhn9PdhzcmLCgygUxhN1+GdQebY0lRKFCimD0hQUE4C/1dnPAji0MIL+79egSFwDfDkOmY+3pcidPoOu7AgcK4X0EG5tnWFWotCUc9suq98HkOhV+VpiRZF3V1AkgZqnham8nKlCFhxMmaP3L2gLuvFBjqpDn1cE4B2BisY42i2HrYQp7zB4OXvJVawf2J/CMXFpiPFQHLWiyMB8T++csFuF5bE7o7sM6srNCAiBLC0O6UpQzbj1EKuTEk3p1uG8Zb0rS+6WV4WGZoY7gZgXCOqDvtaBYcgJ/piITt1Vz4zvDoSyBKIVKQypZiAVSEaC/Vu4f/UUWdMKXuvSrUPwY6bArY/YAeIig8Mgh4FbrlFdiSoqKtXIqqq7DsJaZzyAXyTtsg8fPlJddpIUhzK2k7V/qjE1F0CFrPbZvRypjIbyQWdWBNEg4DFijdbx/V12016RuBb0DvwrsOx/TrK5b9bzxHKQ8eilkz4VuVJz3teWW9EeYtOh6BY7FUC7XsMm4XGghVbik1B7B4nz8jf2zcLe82T0H5WfodtqyWkfWee3fSadxn/G08d07r1yvtoQ21rp5oEaX8sg3wyqF4uqWGRcgM70nGbF13CbXBU1ESJ2cuQzCKFrODhI38F4Y0X3Hzlh93JCmbTP0vlOOw3jB3qc3USAcLLTWzfrFcQ3UJ7js22GG0yu3I0Q/7OmF93ftHnuS9ASjMTBVx4ZwoO4sjy5RUZRQwPmbYn4ol2OoTP4Ee6uen7IkEuQ5LPnqxsemhr56F007uPEzV3yQJZZrNlc0oeSgSXaObtQQZqjJtl/dTIXSddiFAZ9iInEz+1k+tFDAH5Idid4fAaz+cWD5hx3Cc1Aa0EFdksQVv8wBgV985b9noIgMordnFbp/JksygmdkV1R0Dio4fkVem7rW78IjRhWjTd28yc1/4l0oxmo4JMia0ndpJF7+3O4FyZQ0MNsseLvxiL3PqwkTRMj5zVq6X7RlH7x4sjknPa9GgY48RqC7mx6GoRipgr2aBr2tRQLkAqz6gu2PNyYWge606Sckz4QLnv9/f33VzeXNuDP2g6wIcxK7dbKvK1pLAMNKEy0RMuv6dHpyjRAYu4sJO5vT50T9lSDdZpO91rfBfP/wIrNKALM76xXf4odre66elH/Me3s075itIOjl5JcLl7mS5ZUGrJjwapfGSKWIBW1HTK7288znR5yoYotawHk5DgqFpXbQoJES658yBpeWez8Ob+QnGkCQhCva4S72SEil3nS3V6+OWRDXLcbwNPe81IvSBDOZUmynxcFs9tQv4XhE67K+/OukH5XYZumOBXB+K6wIFdgu4iwPCaOZVP6xK7Qo9EvVdHcEl99/e83A4kna/aHap3rkoGwZB0m2/Fn/dacU56hwnXgj8kJPYDkSzdGbzkq4/a9uuPYTyeA99Xpg2djcZKVKzGrZMtff/zPMB6xVbbXuycM2QYSWnrOZTmFcY8zIquhbOwO4vvy8kTTYM0cLh1d9pBfoInQv/5qygFZZ2Msj7lN7/MRZUDj6u5VbLuLxxrAYqiwo0QNxwLllfjRtrPzieLz6PXFECmLD7KT/lDXbVBZyWH85pcLsiGlLxh97kjhYDSUmaIKb4PK3+L8XYDMpM6Cjq3O81Eal4u+c9iajJIOHP3Ph9Hp4l0Mwxc733VP4q1zeLNWoBhhweZpNELobUYTF7vwXtBS4KUbiFmmm/0iLSRlmA2X9Osp1WwYMkbtpjqwY7dDH3M6hNFYj9yupxn5DJVlofg9so55NoBKAOYs22xD3OKcP4Zuk0yM1TS7uzz7GPrU+YB75GPsAZAEoT45LTp+hzOcaRbMAJcbWYtxw8yPMGcE2CSGNSY9yMDaIhfT/Wp2DGn6TthitSX1YSAfYJvh73e9oOP2YMrqle8CvR08gI47Jn5CZlp4RIzoYPTwkj2duhN5OfPB9t5R/HiK4qHDeAVPE/7vUIRhH4oS+DeiV4mIKYtPSMZxPfgJ8HqIdRHDimDeSY9ITGJKmQkAN36FCqOXUkm4p4yBx9kk9EescJJhtNwvsLCF8NFZk+iPBhJfsltjIKw+lGSkMTSpIBGWxpfaXTPRefMS9g/xBALe2T7o+T8AHdCGa6re9h3m6BTSK6mVgKk4G6qQX0lPOTt4fh9P6G66IPptOPqQOlaCZdEwZenAr1GSR+6SV40bDpntZZcCj3iowz6aC/ovBgjzGMxzJYhFrdaW4rOvfRXACSyRVzIkr+R4TDh/QjpgfsoGLicwEI7f9fieZJBU/rXsTqL1YGRR+FBb/iwbAP3YK0JtkmbZzYHOp9eN+FbuDmKtt10fGXYEGDzHd1aZX0sRaQ/V9MtVA7ZTATypC+rNIPOfaXPYGCuDF4jWb1UiF2eSmWLId7D2Ls39ZuZ5XHFOoVXh2RfzKRqws6hHKhi7pG3h9pArtl2OpcUFGlP9HDeFn4K10ep0q0WfZWBiUzM577jemgi3TRGmfuY99mZ4O+Qqhx5ibUpvcm/j0iDqeqoiO2D+VoQNVXnn9uYCd/4ki6b1VAYL02z/ONyr+tQ0vGIgkux25TRsF8x20dq+j8dB9e++1Gi2HN/bS7t0Rxqfn3ouUx+WtIzCWnjVqvnYnP+oLpJAIHYT5Iz4t0RIxwKjqneNQw27BSksARE8R9y4J30VqN4WfIOGKvykBhLTjHwuFSsxxXMHxyjH1txBsFwhdsVfQ7c5dAD209jHM4YtJBwXMCLgHGdQVEeVLXEx4G4sUVu/8f8jI7FOdbGZMiXVqlpwvqkQniQeINJTmbpbNqyxgV9fdpZDJdelTwGqATwoeXe9MIxe/985US7ySJSqArAC/g5I/s4ZyfLWaPOUhxwOp9zf+LL+GKxqD1m6+Gczy8uC1ivLntxyQTfIy3DuJv7Si3BG2S6k88dAASn3YziFmA2VnKsoXJ7ieYQaDQ9b7SsDrRSEymo/D5ZjiM/Wi/vQTEJNtzFmve01RFOYmLF1k4DAoyOQB72hIlqwSxW83BQz/ksONazcuK4OHDrM0jfo1Gp4eTeCkkp8yWhn87fBesHLkYElJwnErQ/6lUauaLS/2vjZhTZgRWNSnpwHO99Hhgoy0x6CqGmPwQOydwb5/TLtjQ+TcjPoMjTd5BzOsizS2XmGbBdHMasIhnoynRZSmolVAv4ACPS8Cn0h5ElVM8gbDv5k5n3738+JuljUkeoWl3zff8Pj3TpMpxdkdVala11KA6ydh/hslOvdwLntU5QxZ3DUGyEYN1e1EIcPybvl1L3NIVNBh35ie0Sef8bKyfUif1nKf1kFWmNIFoYCkPIDNSH5SIh2A0T5xVqOFgx17K0v1p1ajrjLuTHiGpIuppLF447/fUs1hE47bwhgnhpfFdRIOXgkXXNSff0oP1zzeoBbPQgM5zakX/EIy8ANKjRAmvMYjSJkRc5yO9V8bZbIPFzarCuwXC855vqefceUay0fR6w/8D5t3sORu672EUS5UyBxop8rV4bf9rf5gar1BGwfkqwAqiYLGHNYOBcYd0hcrMExoJQ9dMB/r7+A6pMibzCjy4d0fHPBTBOwQVokZivJpZxjWMWpHr4eF+mlKBQD2tJtzMGNMoqr4Z2jQYhGWOnZj97ulguXpHaOqlq2HYy0JJ0dOsVAlrjc90HL7xLoOkg/gTvUVyOCtzE2y46+nPP8/INS1JOkh5TR7qhM6XaWkDUyyQESYX7LPvSpTtXjF13l1GbLyqWhV5kDjKy9A7dj+CrADYht3iyGakKmMXX9GimUJBTNqYBYlRHvz51NSiJ0OvXOVFFSbiLWth7AlTGAoScHCN+hatZhbKNWJkQ084N+1zG/rIWzu5r7b5NX4JwK2HE8SIOzgetx1r5lC+eGpGH9GbpVKvlA8+2bYUBnoWUQjYkppTCS2whVOKrpr8eVCibcunMCr936cgGSprSE46spSL0jH1kLd9rXSleo9n2oyn7lvFyTbF3C7VgQ9QSqLj/aFJ71rXcqTdEHl204QdGyv8Xp+anJzC/oik/rgpXAjCbl0TA3or6Ze0UJ+xT7JW7ccCGj67cJD0rfG/NgZHT91EqVz62hQzzGDSRvC+xUZlENTIB5imzSPGpcFZDwHFpYnCPwAXSNPVXNjUWC4TUDw0Oc8thMdAmnTWqWC42euV236Hk0OJcV9EvZew52Ajx5zYFkhyu3Zm3emnzJ9MGSi9HsQ5P6hW+GBAcWC33IK4khznhnJMgcBoKTSm95ADFSsrkYeeVYPAjJChuEDoRSc3QEB7tDMS2lNmjl1H33GxQOBfiRnnnmhqJVbEzbvbq5S4YdgQZfy/ySSO4ZR2/ZbbsIJmEGRtLnuYBc4eZaU6xKa+3+9iKGTlqtbX5inUpBC/wYs9SjQkcRslXWqwQ1X2vnicwSNVhlAgP1dlwEn7YNHEU8Kbfvn0PJMo1WreVy6scif4zYjLYuc8uamaA0rzNZYE2CyzCyW7jjOGX8TpA12EB/YpDasPQfiN5dxgn5Vacaj0b4oOMqxBsITOxmO03ctNFCW9UvqJk57lHGXoqbblZbUwbMq414SFG484YJ6ElR+xJXrCY2qUghTNrPXChDvZoUqDOGV5VUZX8x4mjT5mVeYkh2jZPds3ByzzVYYD8nT3g11rsvWejwLRSDn0xJBSHj04yCcPJ/9ncLXLh6wNgp4Qg9Wx16hndz76BStfG806a3R8WujmW7O9J9G7pl2TL7wt0gEw90WyS1VeBQ+xVncRarvpl7DOImaT+v0SWpt+P41XiONykwybOFGkJvNIQ6cOjilZaKASXYaiK72E5Z5u/niWStpFNwx1idaE10GfI3wAF1vpnrNtjeVieREGU/dLo8W0uCCARclTCT8Et/I0GsrOhd2VNydElpWX7G5L/IjJ/924iJFAHfZ1lpEs8CToZTOpjn0VDObazdCaH/YXrFo3U/af6Sx+31ixi3E11DlojIyi7QpLBKSo3FiTxMvoudjT7xusOE6IRbF1Rb2Mp97NOysiRBMzaU3zfGfm14NfSg8UYyUACqqTZQulfmUVz/ZPJKaJrZ7yQmrhFatH8hDZ2Qh+yU2gqSlxsTQrDXgsnYimyp4DVJMm9mTv94JJ4yG3FoesUWzZ1gTcEz4QdFEO7t2c7dwqN7kTow9azf0YJuQyeYPVaVBo7DIkOtj2VuefI70Xp8HQ7ArXHVgjajKl38105FKLRmuf8CLOBeuwR3csVfL/ysFbrntbKwBM5DftzNmYwExQYpNtE6xFBJvXEjGhbCBQjRYAQouakL6jMI9/UVqPAD1wa1j4IY9kTEtLuNYJUvsL0SgjQGk8b4CfEHgP3/l030Ze98eyRbDqfJKMQLzR6SR9VZHbCfPCxq08cK+cHznyL4/oDaRqDBZeEWvMT21xaFdRen2cAlHoh/O520LZQnEgnsZFs3qcODzmLMlyrNPKTeunBko3SqoIZPSaa6HZDkZk1LebiL6U2LLomsqndO1vdSI4aTp4aEzgmHymy2KQDDajb6UIhT1et2ufezt9/FM2zzpFSxn/H4uswiadypp4mL3C49dyKNvTRfdNv8NH/n4fsLoqoPPAgQbXPBwLZju5EVlYJKWQsHrJrXPrYuAdEEmRgFwHtv+/afZnBXJCPAShFYcT4YPrzX0dnV7bXYttnohCj5raXmLiNQvAFWtcZS1d9fIUkUDbb6YN8yPPydYaj8+ZuaYWk9/tRZgxVuJe2q8AIyF25KoaaLKVprW7Eyc87LtmNRqV4Mk3cHg5VfPuKblvawGY31HR/RslJbIAu7jAS2gTteaCwLSMTNqr+y1R8oAfmA9qSgjxerVGsuwPpLxBPCW03YsajGFNDG8PefVg8Wf+SsOv+fX37XvIe4o3cjGveKJ7X7Oen3FgZVeX8BOOQzXxwN84qObCpBHdeK7k5hqQgtCaYE+AARKl+S7QmnEPOsHmm2PdwQ8WcfsGYmxyn7pZOKsKYz6gtvroGjzLialNs4cwTHY5O6rq/8rbYefhyKdxrkuFjwM+pwyeu0ZqPkGzBhGztwfkPhergpxBo45zQzGjSTFAz5UdkT6CuDH2HYN4HTmmho499R3zomVE3FgW7h7o3PLMF1AT8eihDf8lLLPRCMcms4uOH9B9mz7R2jnSDeby1Ad7NxTOGf0vnD/RfNrQZmYBQzk+QJBSbnxlj0OAiFzOfg1szQR9/bycaIK4c9gATwPPncoJu7d89Uux1u49X9UB0v6M69OZCSfCKUkoLZuZ2v98IWe7/vLkOPI15ov5yhhi18hCQUjHTPMMZuloIJ7U7aML4EBh5FbQ4V8XGXTBbSIe1ycBF2keKTBj8DEIgyBrpiYoj8tOGNpX3hM+vVXbwVPQcx25ZTtM/2q+CUWdfp2baUh9JChZF91CXE5nNj7OWY2ZXtMTKE2mNt3ZhEaIvKHS+NYr0iF+2z/y33wUSW/ChvEIU15WHwics2Op2xZqFgoW12mpM7eo7FtH9qRcF7VJpPePKI1pIU9TEs/kG9b82WZfMGg4OmCDoogi60kR1OJOeD4IhRl/Y0aGAAWbFFBCHXFqMKINlz+hjmEDtGu6eAuEv92mu7G8mW9ItfSc0to1rjRO0r7OG3BL9eqOylRQr3uv+QajOm7yASxD3COpL8/v3/feMVFyFBnOgLUFaX13oujooFHvgqIEPQObbqNQrrBrVdN/mH3CcWSFAI12UVh9ljs0SIgU7zhnFmeyTgGv6tAdMWneuqJg7OdV2qqozzWepxo+jWfITEvpRffMQkjwDYbo8S3vuuhdMXTbPvbvQs4irWduvSAZEH5OCf9rHJyj6NXsk8j6X7B6aFU4U2wHFH6hmuXwS41BlSOKO2yX5X2CWrN4EjKJY9o/fQ0Epjo+JGc+VbXPmAzMuDny1n2SoVGL0z+ZOV4CAdZI9EU+Ex92nqWXCbzLqfnBT7JbtQJ57qwnw7S2cLD3C+sAgbbnZs3kItN/lKqRpoCdpRlB08PMJjdFyrDUD4F+VklqAz8+ZBCFRI23ufgoJhjxz0cM6fAkSOnu2oXPDhrTFcfI7BNPvDr/N5eLWkIyBesdlDm64GS3zvO+ohydPjp2SAvd2od4zFAL228Ff1B2v3rzDr2c3BXN4W1cjD4iV3sJgODNmWRZPMKcFwjVsPGf4YDy+YCpXnt3ww4drwklZp/qi7yKVdID8WpITD81dyubTRzztiqptcpSLBxF8ObOvp4HQ589ea0q6KTMWrzHMFv2d6cKQBKSJz0u5jnoxNsmJgltr9QgC+BxtRklzw7NYxpZEjeDRIV1bWzAmrjPs0Oe5aofAnG2L4oIWfg9dT9QVoqE8QlFVkK+hKTYVy1V78oyi3KSoGtcbFXAVCzT7d27L4pkL+eBTYDmbK4SXQbCEfMunJbkz6TkhdgX/JJhPgxAIOLLWxknFfVaDDKbO1LJKvcNC6xGgh/7qwDdHsB5n4nE2ZwXd3JXjSPLHwBS4K8i9i36+SBIAtpp0WLXqPwFEv9IBoXfE1WoMzHCcaZUFTTvCGj8Qrq0tf2l7FddsgZs+UFuAtrbQsL1EkzrfOVees6MXZ06+ERXLxIHibYKvYqQBzAo1iUwbaulv3K+4mbWQwxYGC6x5QXw5EiohD0xmCHhrbcTd2d3rCiHhWKMRV9c4Ff1NjmjkLve5ofrREzfCZQ3TSeRiXQUmedBXYbMhxKp+3uGVnzdlt9N1sNB7k1TlEXjg7rTvUNsROS3iqNwu8u6NtifpWhED3/2a34Z3ltetXRvsgrnbciLZMueg//5ZdPSUp09WlEDMGbaxm9aJp0r76TFEu1VIgFcS3Sli2REE2Fgn0N1qJhDhDtXfN2qMuFSNtx7PS5TLme8PK2/aE8DWncJYFWO9Tp7X2rozBn0fcWEvauAgDhuUtX/ePFrxWOUgsG+RrY8sJwPfxDfh+Set3upV+xIxSl3yrkYmYmI2bjtKxKEnDS+EogrHff/m6Azvjd+KZm2eD27NFqcuU7aovOZkWJ8im6OiilTnjYqr96NcC6vDhJ2rWFX8dGtvolkGXTI91VkhI48/sVg8brKJfWl6ihXCIldHnaQzHPDUywff3N2Akcp7AFlTdC4aym5kpOZoCHmcT0vnOooOqI4zC9rjzZcAG0uS0Ln4WAFQLySr4UzDlIzSg26V8y9EKkpCvIrWzQx9UM9Oj6kmvmiXverNoD3OdYPCPTGC7QD0yxNKxGgN48tpVAS4GbGcEyWk="/>
  <p:tag name="MEKKOXMLTAGS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lIBcj1AhOaglsfnW7bJVNy+Enu6UK0QItpF7Lu9UORcZ4SlpnUax+QPfM/lwFPHVSHxaXXiOwGJHivZNfu3EK3IuS2PnGFcrQto7aCqTO1ypfEMgTPUReVS9BsV25ikWqDqRKg+mV6HwgncixvDD8HTtGZHyEpTAPCLjjcvOgb5daQA/swa0yE+MUHferIGtuiHQHAfYrrPp5qXxQU5FNFII4RaFTwKiHE0Qq2+zWUCGFSRUkUROJiKWgayH0tLInZs2WILj/jfWKtYP80+9zfILe9ZLdE/Els+OtpYw5v3kopgWuYXLCOh/oBmxUuB3ICX1ID6JJ/RYaJr4Ahr7aDkUvjKULDY/fb6l2RRbzu74s34EkTe8quRsI4PnrCcRqUuTpsiyn/lJtfAJQXpNT6ipRVQud00jKd25ld4Tism7YUK4QmIKhOwQrMzulHuvKwFdpNnIVy3AC9EklsM+7CJqaNWJynosBVk4STy0NcYacRAp04gkNS0D1xUkK/xVyzYQDCqtBqBL/CRuLvp+WnaErL0YoYRu2IvwhCfYbEWqLw/dR9nkQdL5aLOKHiVfa5IVrtaHCNriPiJUBWeIRy3Kv22LpbdxmFcVlLq97NoKk1rfxLN+a6MIpAYMwXLvVIlDle4+3rAMRYw60CGx42F4CIPbvvV45d64IiQrc4sCvTJYLWYTwoTKQUAM2Vu3g3u1dX2hGzarkIQOxy8jN7SKqwtALY/M9Vf1IQV0AaR5vhXP0L6IHFd2xiRQcAsM7KDZwCX7DcJUrbJ+0ErQdZfDNuadZM6j2A2Dwt2Bn8yPenV0xi+M+Z+yNPolHNdBxlnFQzipRoVOGxnFOwK9VpedUKhfMFWWA7Ul1/p53iVtKfskRwr2Eo7ITGaGtMVssa7n+p4sA7JMa2WeX9XnPFvlNFOUNcYS1IARKIddjauPCZ2dEw6nrVFC3tHfBn8+iKsGVYvJVGSi8A85b3GVhh7n3u6mGyxzBIdWHn6bmBYiJk+jdhJKS7udDsyw+ckOouUTzpLVVC5V/2cCmGHFOxX16yZ3a2dJ4DAu4gMt8LMBlvW3pJClSe53ceHirsk8we7ac+JyavSUjoabvcDTbR50UQ5Mk4wrbLZFd2yINPewe3JXNnpxjjMri2oOejKqmyvQjsTmuNGxeZm5z1wTCLLAWUm79UdeGAFJDvNpNnPmrjd9w4kDsYkgOH9mxCpWf3qLx/tHNhMBdRK+yTVY36fqvMxyScQjXP/SRP+/VbzrMTtCRzX5a20YGcthocp4MdCARYbDnjAb+l8EI26Zz1x1IMnHZoTX8XlzBnlhDDTc4F4XH6ET3ydji/6xFXy/9Mi94SXUxjxSXaZUTHShWiiXtb81kla0xGplLsSW34bHd15C4V0F4Jgl/Lhpl76n80zczXZ02D6imhEac4xjMYyt8r6+Ke8ZRAZwrIUkHnjLEsC013HEfASMZuCWN6kpI2R3TJX7WQwaTHJdWCSNiw8FktPyKMQmf7EfJLqyU+9eOVkNXFAvC5Sj0mz65FlEF/C3H64Da8jvHdE91wry30aAfaE0g5OLopkEpnVVYk6LmIJACbOrv6hh5kv6cMWVdRwqxyhKyS1elNuQH3fLo6BI0K8rYh/JoqiB1DuFUpCPnhhiY+m7vtvcN8SH15+DU82suAhOxf0kCmnl7vHNMbwxqBkA6NhP7+vhEdHKHKu6AyetIRfZv5dNufOCXEGwrYQRuBOeWiod5HKTpZkxLvt9V04BlelPPDZcxwN1YU3Rhw3t9JmIUEa9Dig+tGwSTNVbBu3cXEDJ9/brAUWPJvOuTb4VG8Rp9ovwnqos8KCLOYi83A5lgWzfzTP5unQAH/lutL7efm5N1A8XtpUxSnRZpZPPcvF5Y1AjObFI/ojhX3pivaq5Nq4flgazVStHz+1STnbWA8iiCWNkgZ+NTzaeKDigF1uM7GafqIjRJOc72ecVx3NDltlfZRdXGCahNDia4/pxEOkCe5lbpivY2/wdfz64VAUHn882sT3LSdROSHUyNmLc4SVBxUX9X99fHSIvoIM7BFsnsT3UZ5FbjLF+Hxh1KgK00/OUbbRUbyG0Up8sisPdwuDFcEZFtG0D5u9uKDGv4oCZDppkFhdMe2EtwV23ZfBvmRB1yDDI+bT5eeAM71T2vHZQMTlHVLRMs2B+6wxJriecSPoq3Um0EHPs5DlG/bSWcTz2yBb95rG4GymKwtsqDqlIqqV3Lg+Nxuajo9WibDSxgboV9IiYm7U/MVFxdP6iR+hhTBFzNcEbbxZnBbuFiRiy1y4kd4j++TsYtLSy3skztzggZBDNnVV6aSpwyoJigMs9zfJPckH4s9J9Ed07hHyefNNCuwk8kFoIXxjBQgv4KVa8vYF/fi6/kVZQrtsCVVX5UzScrt96SeSx46Uc+2JWeVoI2eIARLML6HxPXkoTjT3iN6DGhKLxp/e/KSrNR8Qwko6oy3UNJoJaS8SJw3VtElz1G1zRPt+tvOncuMPy8cEw1AcdWFc0gTQueAEMpsj8bHMYZIU9gz0b8ARD9crpMB1cijVE1KXPl7ZIPqDjsVhqjIsuryssl+S/5iqYp3JJciBOpAHy0uw634stkIwim9Rl264aXavHsQ/AQiKYm8TmlPB3rLPficR6jprSE9C8HdqgS9N1PUwuGyY3T1VjsA/DXmxWudPcnnvKxu//lAI7+/Z9tpnbcejUuLnUlMBzdUSk8SWbkZ6/yk7U0NCMEESGVLdLYkOCYFwH4wUry4UZM940WzvFHbrN+oHl3mBKOl/xBLahHnVAobkuLPVqlDw1ZMUWIDQJuZcFOjY8bpzcqFR2v2e8Cu8J9mfpC3o019F5WNCNMiqdJWpAuXCZvnMQdSKrRC6gsbOujq6YE60d95Xf7AQ2s81HX0fnYtiKx3YK8Xkn5VGbfve8mLkem20M3y2YAPA/B2x5Q07Bz/zg5zX5POwJI+GdxSM4ehv8wIcePFLZSM6lxhkfgVjwDXsQHRZzZVBCpK3uct84/7RT5NASTBQUkNZ/KSZoC9gIiJ1Zdy6vElK0q0MTP/GHXlI49yAEQxtEtnS4/+ugsYUSMd9issDOTeawVvFmskgz/7iL9dErpL+36mHDwJ8yBqHLuTuBRFRkSGlCfdnDvV2Wpfde+TzpnprphQ+lDgcW570LvtamOnvhBce3n/lMoLstuFF+uUAXi7lwIndNFKB62/1WEqQ0z6i/WrDKOfhnKVPdlQpTyfR2nbmNmhjek2/8lh/0uFpxNtQ+fubYLnsvQny29NR4Rx5iN72l1IpBNFk8lDPGREOwdDH/IQOulmff76uTzOFTtb8y3fl3k9ej16axKLtQSi9aiJadP1z0wvcw77KdGzDZRNRnAaksCGpHOGhhc1x9ZPERYFZiQZswUAVR542uM920j1f7IP3QROmAcwA2EM05RGf/NHAkyqznpjoQd7MRWbJNdIxpcwh5yErEE48SGM/ocW4Cp6DLEFZtqwhtBd89aw4h7E13AMnMCkGaGjG1OPtk5B6A6VDBXXPshmMaPn0rojbknAdYhWENnDwQe8iRqkxYdw9EVTTXrI27TvgTqCeU21T2HnXiwQ+5yUjl/J2Bzvm0u8cl1fsGhNYE/UT3eRtQFnS6NO93gFg0PA8icW74Xvqupc/QcT7ihQyzyo9RC0eIXd8JV7HWPu0RdAxbzOcn8WKJajpOEhNAGHyJT7bP8/2PQmmKmO6vt28o1MMlYWfw3Mm16tkRNpEharTWr31QEjVX+ja4Ryvbisu/G2GYNd1mPFOH3ehO1Gu0RzT4w3qeER9Jg9XrwxARq3Cg6/21mPBMmCwQDej27mqkhXgBWZPKEegOGlQSQOj3QRg2fQvUiWNijdaxWId5xU9RanOXHl4VdgXah/9+r9Xb8CqpLyfLaUPKBSFtfqINKWFr9Mbw2LOlLOPBC8SBnmTMkzUlplbzB7AJSaSIhRm32E1xrLo/epMenW4LN28+Q8H9dsI+DL/eZJCF+p9roLDTwDjOIiP2/Cl92ugDPQ+I55ZdzK95sn6Mh3+b/vOY7oQYk2trmve7bYJg8gq88MVEc+TyEScP2DdKQfmWob0JAzdZ5Gr1ERUS2K6oXPFrvNyakmfx2TXd0WMqFh1KMS2isXTZUnSdFf+9P1t2TgHP6Qg0fKX/C0T/tvwDEFZMgrnR48hQc9t3RXoR+33oHXjt2x0Hx7AUKTgUzvNH2Zdv9VYv0kb07I5r14a2u02rqlqGs65fqGKyIzxYfxAvtYvV8QKAYQdhkojv0EqbjfoFsEYRRatKUZIsihB/P2O/TBU0AYb+NPNdrbo61Bgwrq+9el2fE9c942msC3lhyflsJgEecXX+28tgjnvNiRzDLjlfyPPYMah/Ovqad4czwgK64/RyZxtqjaZha7VPWWPbb3v7sRgRmVY+rT+m23hF4EPg09rclWsUiVsMFU27pm1FMVnU9cwcpBYZn3abbdov/NaCla7PpQLxNEIizBwd6hxjKCEcOO7MkNJj4HHCq9lgx3gV6wY0NCk7TrRHY0BxwzBbNG3kP7dWtSP63ch1irviForI2iN4H2ryk3t78OnXw/CPzD5+yHfhy3MHALlkALWMUkLb29n69iX8qEX0Vq+6zvZUEDXpdDzYv0mA5tin3dYojgZMkG4udUksPsikI43mKtvoq/H250xleDYffiL51ZauJuKOLCJwQJequ/Hk2YoqCQdZrJCpT5YT7ti/ljUEsYMN+NWl7S6Zbd7CyD4jsmhvCXtdMn17VymmwjJjrg35Hby7WOpFWgpzU+KLHA5CVFuFbnaLomruSHK9mNjd0Jw67MewYm1eODRllAsqBMoylIg5ysaYAYmllWf9M56mpzfyVYMH4aokXu+zB85h23IvSG82SacQlU/8QdufTgm+dWo6crADYsb1nrL/e5SGZK1eZaZb/iiAGX9DZegcrm4i+cLkZi8WWi9YTVJQXnXWmhQe/nMXK1emqCRIZ+t5DeZurZKmiPYYt7tfS6XIoYGcFizDrmjK7m+uPVlEjlWTtAGfRd6MI/Hf/xDbVhQW2w0/PRN1hdBuIl+C2OUAdlbYEPudIGVZj4DftX/oNONqAU6ikzO3jk0aVV4RGnz1aWIrQliEwedEl4dxICEOkgf5W3vZCD2wKkCpE0rKEef4b5z1KBvMMaTrUMbdjfusc2NnmNUNC745l2FO8dpzD0ukFKWityhrGhxZrMODAXyiTON2ZRHu4OlSv8t2C0M8RhBpRbT8gE2B/K2FWBszRObqc73BS6bbmShoH9JWBXjgWtx71Rm5SQk3Dsjk9tOl1L5JoMr6zPCLREoHiLHesGcrDBtlktcvdplvU9KH62oE9bHcxm5uZ0WNz0OUZEp8DYFOJD5uJXfD+EEKrsCEysmD7Vw2xzEvROBf/maitxVxuDNe8j3v4HOg4M5Xh75Ws302S/qKEOLbkbWQFukWv5H+h074JRYNxunMY4/KPeOoIECJn1Bh1ueVbFo2WUMTK0+qP6FeDNi+KsSCrbQhk4+fUC+U0e2mRmHPgouSVf+XOzC8i8BZkLRaeqkyon8FwN3TWA3ZybTVURmHYQqF/jLwTFOD21JrabVN4ANzsTG0GXSpzBzFMJsyriuazftEwuOE2j2dlJAHNPk1Q6xDV6R5Qdb3WDHIXhH0bt/JQGINa8csXrvTir5aE0sxe86/Pwzk0HpqcojqRCVyoke01Z5BTrFblvV3jZrx61nmx8jAB3k5BYrgkCtJvXrBbkuYQJP2wmqOXmgUVYbqniCuUnsLfDf6R4j9KjJBLdVNH5LxSf2/skz9WkY44O/OfApNWIvHa3dsVKlZo9mVuxJqNEsLCcYeILOTPt0M2bhZl0qloWsX8Pu8rKGkpdBNwFn2aP6buCE4qYvUtZtgeLJ7tDC9cHhZSH8pnNQVkVv+UljcMag3o0d6JKOG2QknkQ3I2OiQFihO+sxnSTxUCRODPa7vZOmj0R+2usTaLRuSKuZRO+Yg2z+aFRJsqGA4qG1lSG4nLn9jNchAT3CzwZa7izGmBVbVZbYOgs2KTM6e39H4jOc5T/sPAhStj8uHPeinxo7GXsedvmQ8MqhuhprMTE4s95kDgyA0xW4LRCjm7YraffST8+0u0/UzZqeb/VV0cDPW9EO00VskZ9Z0SmwvD9WW3sCF80+0dMfgDYoib7+xe1gMvhPdkXDU7RyTU4kPpZNKKTYS1GQvytMwvNW3IhKfzMcoDN8PxdY7Ha4Kp+90VH6tmppfr4fYAnYLgUGnG7XV0PIDJI09mXCSGTO18tFr4LZO+N3z5901whnU0QSUbMUj5bxKxlGg1p+y7ylvL55QcM4MANUJhF9o7vpX+jOdcfAP5VXxSA4X8nuCO9P8unDHXmxo1fRTAH73relqTnuaBvYFPWjEmPa12W+tYA/tIMq2w44RUuBiOTZj2khVrDErGz2Lei9k9748v9Ijk0r4u8JTkOlI4+Lc3ea5J6zDNgIL9ukgDFgEPJzCaWa061NXqplISAgmS996mezXsTCOGIL12+EfChfA6oH8Wx0OkMjbU+nFrO9IB77n2vTvelyhLNfka9Q4zTZvJx/4EaEalaFrhf29H+TaiCPRO9NTNgtyX9EuzugmLE13UPtq8YEtCOKHcff447ExMvBr4b2xnM2d88x+Iy5q9e7VdqLvC7XZ3LtqAv2G0vKlYbM+73UvhzyzzSxm7QZQMuONPRCWl0UEZ2rPXGeOpByiD9i0GHuycUIw/GsLdAqpncHi5EC/x+3Af9TfLrxtnzHXS98i4CjNPqE06t1yeC/i6v2StN4Km/m6iIQ3m2lfNd5Pjd3RkKSW43iFrdwfLl0xvG/8Icwlbql14UsztyxQX3PaG0V8ssQC1IDvm2dvh9+FXijOwr6wQOWRxSotofWlqc+Bnz+p0PWBhzZ+BvNSX834boD00e/Rkez30Mmk/J2Jt6ksPZ2g/FstuDcrphB3etJWAOPUcqMW51kJiaxGxSvRkLdM58BMeDtUbDQqNHS90K7pJoJ4VCOvXLDhIRukhlICoN9kNNseEWuuFew1xEhUNynm/hVtuyIHPLAPF/oVAQozy4F8v0i071qBGRU4uqQ1zGzADM+Cq99nCWZP5HnDSwXjx7Zth74xnXAsnqPLeQUochXmv4ke3ShNKCWJtYnqq5PK+hSCsJrKyTyweiZD0VkKPmYQ2/yRYPq3UEXBoUJtkgXrxvbgkUQ1IpBEtAmlOeTlJixeURW6tvs1TpyxGGeJzEmGV7NC0MOJmknYDFwKMpItTwuw+zyCMLWxmIkaIbA7eGFpNoRdkFU/Un6SE4jlEC8CqvKFnYij3BK/j3rksFFXRfKG5kAll+eUpC3RxuQOyz8iCpgjGm1Lepk7obn5T/qgSNsOhYVb9VJ8Cis+ohSsZXxETxyRWXQdE90tySXEDTwFAHRgvEdTp9Q3G39tW0t+u40347yH4K4mtrWJs7mKarHZV1ba7bzoBBRQ+C3b/EMkrHoMSLwUiVWWyQ3yt3ZSniWRTlbUplcJTgsFEi2QMn/UG+RI4WoOokMxooNPLoTbyKsgSW76ws7BrY0ooKOupWBvNVjTPBp2ik/aMdoDrr95xkPMVL7TPsO+j+tGmZcwq1JucbecMHG2tJ+VckcHLQrCynILITNouD/GCA/O1MKL2GwG0WXbUUcaMMU1GZh+56CUmeriNI4sVBAtdrHcybKJYzUhmLdBmXXol3JunTHYjEa4Rt6UwZxcjWG49LsFnmE1BJ9IybjE+1RDKsRljtjpDhjyzF0+svTx6iAhQxbeof3gJo/95+GfcP5wvBpFqF/t2aHQvmAgW2u7Sr1H2qUVlqbbi3ma98yQM3HkXtR5tQnIr1T3thKyE9uQUcEqdvN69OKn//WhEXgiVC4h6JNSd/KbbI9dmQ+xyd/fon7wq1H0YM3QfZsgnrgZXnwxohoR8CFCi60yknQJGekehIANrEVUnHgSUnrBLmOaESJNqqUqoXIcvrolKIq8mB6KC522SyGIa7JPrVsgYFdyY7QalwYKs2gQsPgVixXmjrkgXKmiq6aHsABmC43cQGvrVfnFkY+P4Tmr3CKF0HKeWjhCRZY9dyT/k3y5pM9LXdaHmSFJjUiJfeLRpOdJI9wH/+gqEeIIUshq8d/TH4jmTVgGSRPgd3ntX5YrOFmBymBSHoScf9tm/bkc0Pc69DlytwvBNW91ZJrNHd0Y+N8gdmD7AWPld+ZCPSdKIPqmk82Kz8B6A7a2lXCVyfyAmGWqyukHoyvonIJFZtBT1B8gawdlUCoHGDQCCv9QvZr/ri+NMfTl6Zteky317oJEjNyj8fMToTfyRC8tAe6ZdCJFgBMBAFV7xn5+KNAUSMKEmxbA2eQthqEE0/fqv8P6qUBrCGFhW/UVzJyIkcJerVmcSwBPGFxBntqwpUpPZGRhQw2YGVwh4OOxhppRfxtQFKYcWgwSeMs6XGEjjYIZepmq6REi9PmGCFMGF4ZeWs43AbqlodXLXxHnWGvVaRa/Wx4FebI0ecHwJi2zK8ShOQTGlp4gyGoDUKd4tYwjyBH0WzKAjEUBAJXOaZxDo7r1w5RsuHoc+ajrcxdg3FY/pTFAaYrUKXWrKOVFNKa6gZeHDyR5Nvts3N5CoO3zYqL4lVwhNPKW1TyIyd5ezPAOxKsL00+v0PzmB9TwVhSPBYv5S+2CM5s/QFxkIlFAjYeolqby+0CYO5SXiGQffXs1Zeh6lpTnYhopDxpaDdnWyN29dPGABDp7X9Qou5NXm7dNQrwZcp3Bbf7EduHQGX+uwosigTY1YtqWKTzEvPJpzT104DrIigWHw65EyoCJbOKovOtVedI0UdiXSLpDTqDNvc3MO8dnKnd/VOQ6cdwwMgcfbb+q9Q63Ox0gWsyQx5vQFInwxe+IUu0jesKDygcVc0YGpPOWi7mo1zBjdCxOS/+m0hC0z0aEuN4aJS+EaRUQaKq4xqV3Th7AcQuhuUfrxoNpsDbAI6VVS4vpbaM6Na8AXbp93CF88/uy0cV6JU5LGfSs0e151vk1GFlY5ModvF1NcRv+Xe9wlSdHd5t1ri/Dcw291Q1ojiBZKhlunmkbxm29uL2wcjCEVDrTZ+3rQdeYiJ3J4h99Pig+zhpk/YcLs657GARVPTJGp2ZreCG9ZZ79meNC1AtNsZmb3SJtqNuA4kPDgZT4Ud0qbfh2TVHVpn8m4LMyep9Zwgv6sygoWTt2jjLywv3iVxehf/Drc/wPUC6PAb2KAS+SMNMsSAbkD+trZfUlP+xoodWjpqCGq0RjMl0aQ3gRQoB/3r91Ioi+gChrOl9ei3+x8JkLW9T1TQ22za72aco7KbRc5CNEcAyOcx4FQ2ecUGeqdC+slmJyJqdq4EtZQZgF46b10h9wYZoc+pD+CErr1KSYrsE2SQq7aJK93Gnfl/nF+0ZqpUu3f0/cGaaeflR2XAnUJpRdkhzm00FKYYshBgoPtF4TA99cW1ux8TqVPUJ3QY0y8MUShHyZFmN7S4GO8TyoWN3GDo8n5myr5RPnO6UMS06j3W6ktwWNG4vixe6y0dfR3q6EWT0E1HzsZBHw3GAFSl7OTkg8PiaustxNEn83JiT3nwyXH8OOEIPgmKMYJGfBkyz7bYblB2DaKXFGva1CTUKIbiDl/7WqWNimdePd01eVdgirqJy3doXRxOSTsZ6QdsRPKCdO+2GKrb2mzFm2EB+LY40KG3nkM+qV/IIJ1Sm2BgxAwjSYrlPJfalLLK6gKLVCZYPLlfV16APg/swwwZQD0qUdIawAx/SB0/VV81l3v/Nf1FC29MkvkT/yv9RgmM+RXbOT9gB7dUc8K1JHBSMAO6xy3+5mtSg1itDZ9lKm+ORGbzbpk5gn6DMq0mq3o1KKjRIbmp4Iy7w8p8YnOnEi4xgKPGI6ewhJp5ZM8vhyfGLiLzN/eSV+6w6cjWxLRASW1uYuJPV3WgUdZkT8/NZ+YImnnGglH2Au/7XtmepA7uOFCP9POqGOf3cZWbaYxrzIvV6VQggsi8UhZrE4uBcu43siJTQTFB7Jr0iOVGJ4z33XWgvvCX2byxeiy9ZCPM+lxYl6ZLDGvJVhVfAzJERWx0F+v1aBh0HNe3QrTfgnlfET1RcvrvEBcf2rXhkf7b/JwFFiF2LnG00s51YSxAaNf0ijrMHS0uh6nV96gA1o/B0GIDosOaIHv/2MGBnOeu6tcl8mid46vzMUy2GR37G20SmB2RUSjnZA84LpwilCzTaVNLhOuX5yR/Y4U6JkOytF/BfGqNesceN7K1rHB71bSUraAnWsPs3vDK2qC+kRP/8jSnqL5YmS2n0UJ0x6hffzaSjoMy+hqaSLZqYXztDxaCogCQvRQ9VmPt/s0mhM3kPhA/7P+ErLrM5WfVNa1TlYBLg7/wPEh1TLjUH7Nxcdb9rPA/RX5mkUCNBDOdDNfHdp7eVOWKTaQcbFKYRsW8z0ex7xDVpaDIOKW7+wOFlgjkfooZIXoh7r0bNvwcPWumWR+aXcQycTwNUWFz+IgCjxuPHloFC26/EI22xSDXqkUrQYbg19fW19DTmQChgRuHDVV4VEwU8s37dVkCXvSCMFJqQAqr541wr9VXZZlNQrUR38cqyp7eoTAhakWFPLvooK8fWlaM8lzO/IxwROG+VNlrsEJE2gacoHDmlBfaNp9T3ETTEFpxqHPddBj96IlEZcPyXQjhHN7a6+Wz1pHYujfFEpLoyCvtcr1ZnKgeR8wiKv2J20MLFCQ0KyNHRPGQv1EGl+STJXowrlp1++d/pWKPF/LFM4y7ywDdTE/74KIUGIm4769p5BZLUqOSMthZlxJCnR7x+z3+EVIw3e+DPm+0qnKCspR9URBDwjqttf7VMNRztuR/SqS4uW5Ls97uUC4xlVgAgxlcIZJk7n5ubLrx6JO6ZKL+1aKVRlS2Q4TbxA7J1q/KZtMdf/mXgOUQQR7iLitJw972Kf/v07r6qeYKfVn3FTnQTNYEAvn2YXbJIjZs5NCMO/PSyUl2A27NmgVxtYrlS44YsA5K9Neu3OQ1wCpNEkzIB7iD318/j7n26/XsGFHwAHKjuqEA4pYnQAWEJ2qxhhQKlmOGJsxRihiehPVqPecV8Z6P47saGuQNi4K1RcCqFI6cYkne1o5il5OKsL3YNHpRfIVG13TzDqC45KyuZYshuGZgrDctb1gbYsl879G9yGQBawR5/rGSMer3qAlrBsmreuwpqnV5ZG/d3lkHa6SPS/DuKl1Qqgdm23QpuDrM+BF2+terSTLJ8qPyhPT/eeEixLFXGBeQ5o0QaFobU0dPdZ9bVXVOOMx+S2eJOB64oHNq9TYhcY2nwv8aAf98j6VJ4JfWJ2lAlmvQKEtfT5EWiAaAPJHFkYrhSMZLCraLeGW0zCGfQjH17ydcTSd9waLZ972cXwqmKpDtzKMFbiiNgFAauFW8jkyvlJff3FU0/KE8Cumih+zrIKGYTYvEZA1rubfHvFVf8mL015EWYdNiYt6gd/HEpC1T5gamOmPW2m46pelIwgzVlVURiNZlEHjVvdB8nggSyB6xZiDK3vrEZpMcbCttrSIpYQNMM6+Ofesp41MfaPIw74WNpm9cnrJn7srX7ux9YryOrr6Kut+I0FyW4VRKEYb3Bu6A2HNFEDnrNqdh6ySwucIevAc/Hr0gh5CZwRWYSs/9uypfiuF1VyEvO/qSNByEEQ+DwkD7njwWjLgp0Y3i9ZTk+1OYP1TCRKkeeTlRiV/UO/NCS7k9ALAX/RuSfY3KuguT+Pt9wCr17AXC0cn/tH7N9WCdjmchTBFMWcoDYmtE06QhrFLa6OXjPqcZhmZpjkF7kz90krCkxaAe9G0LXyqQdPIyYDnQGuht3+t0o6cw6bqv3XCbEO2J5jTBgEDjnEFjJqfneem0wENLfjI+mvYjrcJN19uFGKRHj8BhwxNdWjAWaSNomgElvmiEOAD73mmTxwQbe2I04pZG6jVs/+Nja5C7aSH4vEDTFQzK0ZGcdn4yC6+ZhbOXmc1hOwGM49Gcd4eJVVr+PrnLG0pO638LkCTuVI4KznaCAdEbC0oC9mrw8RILF0RtHsG2NK4KaQYH5qRkvcWq7PJ0WYnY8DUTdd28RgohGOgLKcYo2OF3lIzoh6rI0Dl7c+mDzMMd4cfoWQNfOT1+jZSBJgCA2i1jTgojqppKswc0HlOFfnThbFAubE0h3uUIY5xvA6411o3U5ei45mDVQScSAAK9+s/xRmyskdJLgmyW3AzCHsnxhDNl3P4X51mOrTEXCAvpJpQkZX1RZNZ/0WqyLxXHUf2OxCMJj5GcCiM0tu1f4msrl+i/NPLZpxtCEoCQ82OWFRaRFSX/4gpgg/vtXbrxQJQmGAWSbkemyETCaATjOlsRO6GNZNbXUTutaGS1BA0BFiDH7h1iajKPumyUYZ3kl3Pzqqke8cvvJ7r/rZsxu1glFcLx10LAPgrFPV0a/3iBVZTdWTXrs2727idvawAiWblPdMaI7duyaSmOMWUAturfYRAABLI2OxfKYd1eU33X25J19cD6YDV3fJIDUfKhg7d/jYHPPLnoC5ZXEBaUkQBSCYoAmFXun0n5Lh6J+lEsHBz1l+MSosTtqqL6owyDKBllU+Ji8sJcrnpyqHn32Wp/hpYWnC0pqNY+3/vcM5DEmB05wxDNB43PmfHA5c4HottFBYnfHBrnFsFNM1IHHHYjrZtoI3rAo/GrSJA4hbrsa6t8vJU+ZrABVxUAzI2ZKIkCeiM2jdzUW1CvTAJhAWmLXxxGqZI+B6W0bfojWQPUB3DsDMa0MNMrekW4u0dJiOgiHYwFp/52RpfG+394+j2Y4G+gF/g/2g5w5WUeHLIEKtUl94dCWRHSyVC9BelfF3AjWJASOOyxXerikSNnPj3cQUKHf9ELRpN8lieawBTyVt62KHLiLEMI4hKUTGRwmrS9RFx5eZTkQEzB//KdKnEOYLjddHcejVOMS2twTIdkztSKyQg3UTJxV6zF4gqSFxCSyF02mAT79PuafYMrs1Z5TsgAd8TDy966ApC7gSrWiXjtEk1CtYNz2dmhqg6Qlcsn9c8ug1AiyQhT+5ViJTgDEZfPbNCO2wloB9t+T8fUBFlxk4W1oX2wFDwGMSO0qm1rObtUWPa+i4ByzTaibxIP9klU5Y23hvJhB+w+ll/1A8iR8ZqykymZSM4/OXzrbscovkK5x0G1xMYL5CI7GH3u9fbb3r6zeQ3uYFiprtKPmwkAMbEgrkE7l2KBDcVbnH3Myeagjcsjcty44+wt0P5AXyHn0PgKdSqUrPdgaSYgKAg7+kg5QsCFK9RQRVdh6QArPY2dt6H/922SGq2p6Xu/VKfYC8IC3he8UHeHu746DM+YAYy+7Akweffe84+K+4ZK7Afl3qEYrLIlGuJ+xKNLDEK6XCa4Mq30dqG0PEjBbLL+pT/IW7NqLTtlqtTp8lVUNixa2A/1B12BiDpidebW+L9XM52GAU1jzx2eLdR2+QybxwH0d2tWtQsyrze4+t7g2q4o4lzDeVrUok/L0uRXWE+G2EZjP4YYHPP7H3KHz/nnAb2gWDWsiRlDtAQVohsPsFxv+TYTlpg5v5Ca9R8cCV/KdUlJL4WKp44Ftf2EBlvSh4H0Oddca8zL7d5f9uqGWKRz4uTBIX3br/Cq++Xo6nKprFBtbMFkJABn/g4V+PbsBDvQFgzed9fCygy4ZsC0nutN6eviXHKqHBR75Gs25pY0/C2x1APZZAT+WYIzAn62m2r6f0L57OzJqOdSd6WGDP+s+h4Qfp9tzjwUpeYU6FZFKd8hm0fp4gcH9MYqJswZZWNGhEQoYM7hw1bTF8e/tTpprIddYMOGXLmz0gklZoMZuisrK/O1pqgNa+//CFc8kegFw4WxvXtGK8lMxA3L1U9PR7jOjutZ33CyoU155eN8CThDlyCHxVPcNP++cG4jj66Bor772QWHmhHYqZIxt2rvFKKJzIi4Z2uS+tdE5LDNK/j9zkMYt9qNAPSgGgeVfBwhRpDX8CUy6xNvOnlsEeLK9UH8uXqjS1mNvUnD2ToI7WvOvSEHsY78AfFvJ0AT/QOFWxVnrLB9JFgk71dkduKyBylcP1EdHtgBSDYu1JETcNpzlmeiBYNoRR3QL1x0fOVbdgofoyQfx/MMrvG/aSOGCWEapxyBAuWmxf3GWeIj89lyOVKRGZ1Gcd01nO6YPgCjuEnYQxwSaBEotZDu/Y4IeO96ObVxWm8hHbjXEbXaVrBhr6yfqui1i1X/XFVjErgcxEUmeWUlh1gWcL8Pn6gQ5dy/jShGfnu3l7vlwgT/kSAWOfe/r9R2Ollz1NmFwA/+m5OtvIv447UIb6KrMsUPxH7U60CSK/5sjRWo5+HBqdA2xOiQ2vVIUSOOEP6Vxl71IDnqP48H81ZjzC+cXq+DSEa/zvHJl0wRsJUTXdBiDuevHX4ZtSk9r4dhP3s9v7oqQBLNwLJm/4sYVYOCJsYK4dKMgcwt91zI1TEiOnT/4Tz9cyxFxWtWXGBGQ7/Bpoyh0/UXrLfwdllLu/7ehvJKLPhKiapIOxkk8cJhw4a9jwzSyAw/uPn4QLdBdxSjpTwI0Ra/sSi3zm0LhllK60GsIcKNXT2sJQ/F/FCx2gRJ1UzOf9xjOT92jcwVINpJ6cc9Z3mWGCuwZw/LS89iMCivfe+3+Vg0hB6ohommmuZ7UWONi8xff4VZfw8chFFtbiFjHVFE/evGcAExQCHTjoFHRs0kb7Q0U70qdNO3VuRZysauko8LXyYfoxIbfRKQTlUtK6p23gpbaGpwhYs2f0AQxYmg3r7qGTDPoE2gadAwqgXY0CzIS2CaA9fZ+Al+uCGyzWoX0o8BL/N15C3QqTISx85Fz0z/2ebmDmJZoIP/6j1HeWj9G1aB9BzVfmBBq/EUOkiASASyW89AWRQ3BjDddh9cNEp22wcbYmJuNb5NAIIGf/d1Ho3AcGOXpuGXZQ/3cAYxfWqUvtbxQGDJJ/BFbBMDULtg1LO1LGAn/vfwa0yVN2myKjTTqi0U0bf7iAbCS4I3LXADmLq2SIlK3flL9RMAJ62YE5qsLXbkgA3r/Lb7KZ8wHLzISi2AehJQcdThvNIMbN31OljqAXlREJW/BdMWo/2xitG3FtbIqoB6a5rBYEEM7P3cRQgItC9xyxADqWVqA3CHRtnt7f3ANlow34sgla46p0tmqY2k/9Hn9UWAS1nfVDoDYmC+V28gthvr1HngpSAac6KpF9S1zZpLDh+5JouQ1h+rIhtrkvgefJQogCOlZignzE0M9QOFviy4NWegfCrkO3AqI+z+/xRVdvzR0sekXA5APkf57KqTJ+PWoxKTGHnikzUGhw3ar9lIX4zfeguJxQZqNQs+6bttqxpqM8ROn1r6tafNu28Yszi7BtXbUQAamxK8FnVJxeIp+v2B4q41o+CJ+bDOPOLsjssuj+MyrJ7KaQgNA0m4OQSP5Yad/IvS3ca8AeWXdZq6a2TAepJbZe+MiY4dW4q92NsgLoduInnrmk1kgFmonKLiJLiRn1Vf8WFsdgfGuZ1rLs9jI5XVj9nRSOGXjPlKl5osMfgoqDDRvcqc22oMeFf57GiEeZjd7uxiv3HiFRCPlkDMVaPtMb4N+8JhjkE+CITG4/KiYfvdgViX517xQWa8MZaNcW6ShMXBwQfZ2OFh3Yiiqh3cRYR2CHEhKnP47zriyCmM3SwgJIINpJR78sX8usE/+sGSGvYpoXB0VIjL5MK2TuIasaxkZ9RkX6KAgZLnfkG2wjdm8JLpWCeuWo8Hz3Y0iEptMqdPjbKUfZjStX4XsKUcvOVaggjFLONmOvgRsVaoy4xfE9r9zJJVdGYiL1m64mdp8ydmp7MhOL54Y12UC20tqvc5uzy5Vlr3ad09XlLxayzQj62eHhh4h0FboDR9EVJReg1kqVjlK8Vw/tJ8LVF3MJLX1IPXEr67fv8PCaVEATn17ogZ2aFFEp4PHFklVoGEoniLI/Azj2H/q4/tZsvUYmuDF2Jqsj/U50ncsfYUa6nkn/XRWwUqG7saw70NuJJndRzIyPhgUZsKT2ro03J26V/XX8W8SB7VOjIohI+Z2te9rzT1hBZ1d4knBiLB+K8YCfbq8K/uZ5AY12UHK6CgxAqnbxwKhZq1QSpEYS5zclKdVhJvC3uwLz7ObdZo4OpVyA4p9lELxRswqEnzfSOb4vPYLlxK5NoPLwTu+CGVspqDx491Sq7t7wfBlDzFQG6GN6SVpo6TE5d1bWP4tG93XE37ieCq7edd2yifQc4C+e1B7eRsoQX/L0sU+wxQcyVyqyy56cYUXNtLo3Y8D1Srxw21+vKa2ZWGqGlSTFYVIMq0MsQZgCgQWcbDyEtOh8+VxaJgOq8xXBU1OAT3CXqUqP5HGw76gkBsH80yrdkXBnaGYiDj7zn/wxnV1San5+MUDTO+ehl3Uqksg/V+NH0kTyN8GakBY+xgwf8N/uhSotX8VrPI7bQ1A7X8lVuafo6TREdiv7oxiSKaY7ss/uqJnQM1vykI2LdTVoQrY0Hp1FPpFFmfBAr9FFpjIS/UE2XUubWQDW5PxvgHVbffA3FjrBE7V1NNX5riROFBQpjv2YfnmcM5KYvXl+GKwuO/V984+Zxd6pzECbfK5a0ASlLP0EdQddVCH21tuqgdSWFnfXcXFO4zsjx7E27zANYMSouLnki5jIH04LK1zQ2Dp6r6ETXn66PULUHSxLgjuyjipwPiMFmXwc6mZl3QRQT9MB2sfN8Mz1pbjcV2CqNRwOMLxxTdHCGaDwF+SEtu6PNoWtLgPfxZJcUZe8YxTLdbA/iJrSIBG5PsElVC0q7XzzkI+QPgfbKclVYpzghkAu504rgRO2e8xVyTRT4XWXRnW5EZa+SjD2yI/ODrs7K+v6b3A8OpuQHR0hmahDvWt31vAN8I6fKWmncQ6ERg/k4WMfhhEsmiZoFeZqwZUh5Ob7+SIt4lFZtZ9d/cu1ZvZxDTiXImZa7YPlvCjJ1TO5eT+HDpQFGdl2aCCa7QpuvSDJmkI1efabifD2tEwDkYNiwLHttHc0dpCr8lScUsTSM7rAX5FxBzSBxoOzo5NZ1WJGL9e/YkBHGvFUTJ1sv/ZCerlc2v3FLA1x613lV157qCBulCVq61Pw9OyB3Ps7f+TVMnvEHNDq1aqXi2xJzVc1jBYXraqE9hD8nMCEh2BPhd0p5yqCvvxgn8fw/nSI3uIhF8NdVxR+SRzv8wiKibK+jD4hlDcKFkiuewVeEKwojX+1Ln185+SYlVmpI4eFAzEcztKzFmK50qJzv8WjLPyk67SmzODdpBC4CpUDiIDhKSpj/ABvoxfDiNF3cmTEB6nMpyn/3LYYk5I4n/Tra9Ux6sO5AEep0brgVHb4r+omb+qKyDagMHzh897ImUJ1Mbc7CHLEpDgaWABy+yBDlFslsN+rqC0fNOcDhmn3fqtgQ2+AfUn8vKTkJipGL2Fs1xpvaFSmsOcc5VRgTxmkNUi1il4k/2jJoWcXTGiTUT1Tv66wdKmVDvD3icYWoEH3zSDay6AWoBfhEGNmGiwh1EspUVopdWQEBex5OqcEKV1h/EvqwOCpCl5sZCqRAoKxZKzOR7awahdUdX5IaKMPTnX8dIYZF8wZ7VKDGE88WXZrjUdhTtE0IH8a6K4OSKXB5mQXfbC8ncZn3kRVkZCO+ugBi53JCRl8CnMyBEEbBeXDSiRfsT1akjld8IqppLStxgHWyY+u+VG+Cga0dOl0SPa5UqY8IDfsUH6s+UY7/EooXlhnCxL3vnYicIa9wn5I0W/Lqq+uXHsvmqAhtAZ3AE35s2dLrPVWM5r6d5Eoaar4lGeweUBSkmzpU3FcQCrMuCdFu57W3k4gOojyZe66CKPaSqBDHsrFkCY8bioukAY8KQawKmSJzupOsSiDsNCEkDKu0JuelYikPKPJTC6sHPrBGLOq1cRVc+0mQlS0Js7+ukcw2zFaiZUXZDYoxzA132nUgGyc7SCGOCi+6ZRwvjEdHpeA5Qkwh6wwTq/wVXpINmDXz/xR3UYXkhqRJ4onuyQ8W8VCmuLGub6hjwZQ8j0IqGFAMGfZcz190QF4xM/yG6r7pHcGEljr2SIA3eCbPXOfSMpoeN9G9ttyK1irUYSKuKCAdEPLQMpib3Hy9qPv6JAbcwcFFFnaMONu4nxxeN+RZeuySpGruc+1LsA9ML4g32d2IxSnxMHasaBpD/kxnIrUClaEghel54pyjHucWWkEZQih+DJyOKy4401iGINta2p9zp8q1enGfK9WuVCSvMhumPHfm375gZws6uEBRQHpI0+yszLbJ3KOF2KEqxeW2XRbvMPtXqFvbk6f8R3ZZf0lIqSQ9CIKbEpclCYhWSC4LzTWduNpTRYcw2c1BgCzrtFPqOgbaid9z71f0lBKkjNvHIDFeCi65HpBu/scqIHNEveyGaxMufP4KyfvI98KOYsVU2lxwi+/AEI4EkTt91OEheewiPYP7XFsrv+0192HTlnPmTveqlU14j54p6qsGGSw/whpwLT7ug4Mlj9uJwUcsGgzpaB677m1d39zkklyQwq0xb0pPsdJ0EFxKNpwds/CbM80hI4uzpcnhLKjYtKWxVPb7EHuhK25lGal/ZCUlYkHitBH+74cQu33FCG3RCzr6fnt/qZNkQs/t06Bcjm4sI88bKh5SPf68B5WY1Bnq4iZFwPUC//Sb5ALeJVhq3rFlhwSMqg56k/NPm1crXEZKmYNZLGZZB955OMe6cTwoIHM0FIDKaJ09UvK2Tu7PM8Ys8R7lpSSwEewloSYbvY1F/QndDymCsQeZcl7FnMAaPAlca3a/6jrcmdEBhYD+whnTopJo4XE4IJz2QUspMWzjALnBhyswoLWrdtvv9wOTnnxLG+M1V3vIjZFgoE8c8FMjJv3grLw8twBaFYEM6EV0WdVBpGKUZGFt2Vevg+pP71uVcAGO09qRbgAj2XZSe9Z+4OyA8dygJ1odB9IJUW3oeyXV7NjZA1+2oYSIbbacFDpksRy2BGZ7vPFy2l6djc+JdbrI/jjU1CwyDRPvpkKr5VZfx2JwYSXC/+WWCUbMjjsMkExUYdAzd0iAOc7kTcyr34dX6gqaphqZoGaqBRVcaxQ8qbbbZV6yMpT4crCMjb+nebkVav1UbB8DFhRreJdVahuGCy2dYh45BPbe6+eCrtpAGkelfZLAwuVjRU8DJvut0OZhiN1sFsbeBmHZ6LagoqiysJGUqespLmUUQcpeMpfk1sp4JIHcO3uHFRk15mBA7ekQnaiDORncpaQ9nTWg6C/FdQkIcECGbBnPZt1+ZTmvzTj42y3iIpQxlb/qfP4/00/+Lid9ZgHYkuo+YcMjfb5uFVk9M0aWFwhirgyOGoD5VhwEerQNrqYH4lNCIJSIxK0H0s5m3HCN+nmTxo3fHsrJW2Ve8qJE/innx/6odQ8dFTgok1EKBATTiGXIL9VKPHldxdE/c0BEXxLC0OZe/9E69sIDNegRKf1JWNDjJ341L7gglRIHT3r4umHciOUXswUg+T5d1gwexWOj9ZYfePTSQO9NRw85bDIGAeTTnI+FhxhX97nBydEwAb5eS23OEc5MPGPRVUXM7UMqfABzYpnakn2M3SAi7+m8qUGg35xD20wZVR5whr3RvxfTB2RUZPnW/wQ+HpE4egTt2h6mms0K7ruN+Er54Ps4ueKS2pCLZ7ugvGRGdFthQZKcikOVxaZ2sNLvAHpJgj+2Lqghbv0NCoBecPnvvL1gYe3dOoGGGWU45q8cA0gdbQhLY7FU3udXmp8A5jA/pCj1SWCSDoqaubnziC6sgA21h5Ls7pdqeKYUpcHtuCpshHDyrxLWWrAEnNxD//KPsTlb99P7UnPsQZMRSdQuFe05L1oEnrBaW/g0HE4nI90BsWUocwhN/pUhNTA82+hca7nCw4ZXqBzdFSexB1rQTW5JCFNDCVngL6JLQ2b56PmqyyIlA7ru1b3+eefFiqmCcMyn48SwjiyOqbefQKfchOBXSHTcffO40Zdt4VDS0xLFKB6v22YlaiTFVirffHYfQ4fBmBU4k/iWsuJ/UtZ/6vi6CUcUQW3CKXXof3RdMtZOfcH29cubvO0/lv2Bjatqwd7+WWh0voiOn4BGmRGf1qu5+Ybtf17WeRKvCSv+NhNglaTdfqSu6W2w/QELRGK0YQYyg7TkeVpBkQ0UlcBhaHhRrtmmONi4zZnjuIzAFay0Nwin7RdAvw3krfjaRcgev+ZG6UsyISdEPG1a1AoGfGFk+SSm4KW+94AXTt0iDFriSC6vlVmma5/Wea8OEfZ3SVXyy25ZWvBBjMVsWr6UzfoIgoGvg4RDZpqyxpwmHkRMaOIkTYaVQR2cbaQZ4hd+e6mJkUC8aAm0+TG0NHukWZbweucqqesy5qByzWOQ/nB6bzKr3XrEtFWtzhkxjYyNjCFKQeRZmOJb3MAcoyMXzr/nhxZdghW0W5QympwXzhxoTv0zDzTWBbyCyIj9KWM3OWyN6EIvjhtZI3uIMwVxUGYxauIN4fyIGMqbUi3/DIl5TYIN57PvJo2D4y51iSxCdVSI+VBm+Nr87EC+xfHKs4Z5goe/cjR6Qku2H8rVQbRdh+fuSkGPHIges0LKtA1Qrs2c10CaQTumAfik4Ky6vC7ysmfTzYIeOBQHwH87LyYICDT+gIYaecR+ySU0BlN/kIhRrRSE/MlI8yXCWuEZXIg87VoU6R3Bp8L6I0me9OiUJp0xuAjNOi6geTaUnKFyYW2lS8fFdZP1+E71ITm+CnFJ3vkxT54kxlWw9aYM/ePWljJD/I3ltevRGApz2aDuv4Uei08A5h2FhsqP5TPxvfoGAG/yi/XBnVPxS666e7LtuViutAent+RD3l7zksa4UtzHNoxB8rh/Z2ndhyKc6PecQ3BMbbIUhYQATRABUGBH4DzKUP6UCaHsuTMjEq/qNSTybyBv4W850F08urgXrF66uc1IHsHXUugIp8ObmvBU8fXUDM38zLtIqKqL0yRU70DLiBnNIFQmlKk/IC7AiQNFdQZ/QboyRcLgAhAXzkGYY4hNVAGvEfJOLtTN2MGc3OBB7iXJ7aoWeduUtiyaD8htEFoAaEf7/ImbGvQtUxz+MilyeHVjvYQOB5aTTqeDEWMNlhLU1h2BXuORj2JsaIjpQSRPKKbWQfTmG4N585mUMLnwNxkHb5Xbkt+Ur5Oz7UWRRy3sGuOathV2aFnY42R/caXZrwJJh6M9T1k0qVm35f+S5HJn041vfKReNzNCOdDACVMuJR7tbCHDiSMhN+3u80ad7CEaNB+ofw0jxB4Pr7LQQ7w05abcEpTJevlJl8LD5lIMZ+JxXOYCamA9anCs5gFfnNBZ+zmVF6VKLE9SknHdmTvkRqdAlWU6LITZT/EJ9VSM4T6iBYTKpzgL35U/1Kk3XGXK+pDmK254L8VEIzMC/gcnmLiM60Yz/tNQ6PDd2fo9Kv5PHwv9Mr6D9tBG5LYTTt5nUaa7qrxAN3B0tH4/+kq9tWZu20v0XCrCYlNRejOf55sdspW4prhhypAjI5Na6kUN/p7DseVOB/3IORS5KFHoltoFmwHyyCt+lfgiKiHELaI5ShTw5z+bqIbbuCX6e4aWvwH4PJMFVPf+XlHJIkeisH9/1CZX4o6+vPxr0VyqoNfgnjh0iOcfWkqXkKq78pYHM1XkuSO47FXrK/coLA/jTcTZWzTnxQ/9wroYjV+fP5fTuLxoz5iQIBTtf1MmVF8KKTKEEMaQGOIyGMCrIjGD7jsNuxF8E4W6pUcNi76jxOhpcoy7jLD/U5eVZiqCbae4FFLQGISf9yzi5W5EP96o2088QyXcdizrLv3B7TOSSdbpZXSJKxlW/DJl1lGVGpWThH9RT6x8mUujHlKcYqWMkFG4pMDLio4Fr4KdnpwSQ5YCDIvBqT8Y+EijtWqVT5F8PPRHaiLqaRcmhN8o5dIRzCUzQJCOSTgLSfYT/fdqem9ion/fHLGBLcPNCl7TRVsgWSYC23TC1zp/BrB5naH+ueuZDhZhnF4FY8NBAiHUIx4lh1ROvYImza9Xf2teV4T8BRx9xcd/8qyUSaBpET5fGWwjsTkLiwOFPhDMql5mIFUIopBwpQeigIvDAmynerHXZeqR55DfVNl7JrJ4o8/e2Cic47Gz7OEDPy8YydIvSw/PywoZeRmCq9vxT/v7KH6p2+m46qiIEmGdOw/kRqntWHcJtoT/FbWKnauNRRPXttckoTzltFdUTugEO/sV5GjnDTRbvlNocdozUskao2TV9vcaD3LXcV7vAX3qaUbBgsJFne+nuFVn3VvoOVo3Ev7k0K+syQL7PU1yBf1IlAIuUMgwlIffzS4amvuqd3e13MNWkt/MiLp8nlbH9ti/+JRUQ/OX/xZkKBaQBMshNcjXeyKalUX+HkURC/vN1K07zsRdg9IS3qEQy0qzb6CxXtcNfzQR+q8dIZ3efybPhQm2S9NJAJE4aWGWYI3XgSdN212XHDfwO7RaFJQMG3/bZkUlyrk9KqQjo3z6VQi09uTnEBMrhry50tgLPtDJqMrQXojhwfxjQyORaUaVxceEF7U6vVqGBXSVDAcAF8CygnCb4U21XEWXJ+5uDc8ApC2yTIlFrmhYliES/FmqCP8FCEWwCfMieVUFv5N4tUfqEWoshh10NCHFOihOTAtynB8sCwD9ncLi0uYbOZbYiWTozBSanw6e0Db5e9AdF65hJHXK7H6seNwu+j53FiCGY+YrSsEPdoabSGLl4hXzMHELrXctVw+UfOxWvDg/04eTX2I3zkKiwp5jFigX6GT5H9p5Z3QEfscUS9LQ/juM3Oa+5za//KAZMUcBg0xUR3N+6+Te1dqjul+TUJ9mxyFtL8mMJn6mmzm4cC2xPQ31vCVzU8qIUF2gJ0AHE8mHTWWkWNYUeOt1u4fN3bafG+eUF7hICrVmNZftrqCEPTdYQdNgAJJBV+XRmK2phxHSpVLw6rMu3GH3Y86UyHjIQ8rQuexvwFPYpSm26SbLU8vwN79FI1O3XozMGyoes6nTW418x8V/ooDMIl2ingK2WB4vQnWukAbYsoz8mMsvMiin1GWvywzHmSJKr5vGrqzzBS/n5jZ8wUhYG0TniDaGeVCosdvR/bIhqwiNnkRDAF2JYeMT356gEQXuHhnZequsferYgMppWbUBn9LbgYFlM4gfNjAB6cxgtsAf0V4a4w3CJwlbEDJ2kTzGI5cucvRZKQ+YJsn++vMBlxyQ1DC27cMflx2p2brMDw6nsbanlj/cDPQiWD5WkMPy3R6PG/gnPsk6+Y4HBeapsmACM5DMWgsLuO3i12GVycUYNUNrlPkncwCSTQyYWOasvc5GKXpfY328hKb1fbgKHW7JBB5yuAj7YJzTggPuwgU/e6P7wqymf2aRxqJH+FwnUqRwsLkhui0dJ7EXB0kyiauBqLDm3UGefpLpDcMNW+fAA61RmFYC4G+3SNtdd1JrpL6XUf4voRvxEGxc6JU9IOkioG3Ngs2RRScv1zJlbIlJ8JdKWE9SfHqM/+h3Cz0hx9wJw/HQxl7g4uzoIs82dZhPHFY9/st21vIASV0PuTCBXPIjXXCXvJ8jWRCPk2dR5bmuzMV+Ydy5RDUrit7BDX754Al4F2HEBeERj5uxGJH0o4WH8fLKlNE6EDWY4j04UkfrgeOZlMLLRXlYl1Bkpfr5y7xvs2tBKdGkFELbE5nvjz82VmS2oKS/Rh0ZutkmYYmW0uoTL1wAK2DMkvJpF+LlQeAwvWhuOfiMOb99FDpl+dBtxgZ9ELPC0qSqI2FDrQlfGASxpkJO+xdgfTasYwEgts6WnkYD8gFdNIv4uSm44V6MPNq+3oP5onDn+e+oeZq1IJX0fpj6zvht8NsDWv6P67kumwOt0t9XVCNET6gXLB6wCXYCe/+TvO+P21BYBS1ktlrNGEpopfGG9V3RHB8h7T2Bvd08Uk49RV2xSijINJoJODGbiS/k2gmmWcpcmyQWtdwD/pGnQmuANao4dFWKmsuNa3tGIAw5i1GAwsbZqbEUmo8+TDSgLDM4JFT27jcHVazOJRbWk5EJmmS36v4Iyem1QalHHHLueKR6ZWV2blU9jSMii6pwMWPzjOul1iIRVNtj8dUomXG50EEX72s6jAYQJqSQSu0lWiLP3Gq84QoNxYAp1SrpAcFsQFuZR9vO5cs6NjYb0KJouqoCVeb8z7yGnbUFYzCeh45WcK7mq7YH7PhTnPimmb2AMaekrusqtX+iuu8zPALuHd2TwnpfZBeCYGkVAAmbO3aJETjMscifh1A2KvZ70n6KZhGxmtmcr1GwDGE5ryVmZ+Mwk812vvbZYOg6G0MMGqSVZHciZUd6akEettHt4aKIujGhMHlAzyE44D++xPJWXnDQYkWcwL3MHaampf4TP6vTqFoFBYKGa4q0ROK4I5i9hDzQ8P5c7RvFsSFqy4HipziDkWN9hHEuvU/+L6+hc7i11efxGyPAQ96fMHDu+vW5q9lx82mzWsKI9ilLWbtU4Euz1nPho+b9RX0T3KKZxMoclgs8FIMkspCRGjTkg+EHq8ERJzsut1nKZefq13S3lEvgFaa40E92B1rifhLu/LhkAbyQ1qNFryAu9MQvLHi6l389RaLsNR+n7eSDg+xLeR8Jf11qMj30hmfxjIwwIKMkVROJVmtogP8aHR2Wjm3+MN5hZgtIby8fwqlut0Hp8V0G86d1hlGMS2J7+lC1/ATF8p3ItOPlFm8dJeoFWZvcMIN9eEbMtfZknADPgXjJgWUNcf1h3KFn9ZQmCwvS2PQHcpnMNTcu5+KrySZ/8vlB9GDWUYNOZ00EjiIvHT06RGJS/ncVq9zNTLDVdX/H5pcMrBsrNE67K8lWsmhDoK3BrIIvcHqAHTLc2B5Nmki8QkWAqg0tQsK4bnA63CPungKN+kNxZvbdU40E9/oa8865hK93MZ0aQ/BkHTNnEme2tu8SzymWQk421YKoXAMSWxnwR/k9zIBE3tuIiorALYtWZgIJGf9hDf3Cog1uHbrefOpm46EX34/5Iu3UhMb8ImSkIBkH+mCKQfvO/pdTlIyHBN/NE6KroD2OksJzPvrYitKjuEa/v5jXib3ClsAjYGJrKILooUBZPdEOzBQJTLtF5cJ5AFKfrxkyP269S3qt6gdsmv39pbDrpddQF6VBGP7ZaTD05vIRuocMSOk6O7Z9R7o5gFr44hu6dHQcgcEjNjRVtss1X//2ydWZRlyPCfJxqNdWmfvhExaslMkM7UlieDdD6aj/j98UFfbzFZD9HsS4F+tRkPJaLiZ9SeGptNT8j8r8J2PiQsAhf3d6MmYHgYcR0Pkl0lnY/3L+JooPD6LVM98j+FeRa+lZ03CRqyvpZNBsv/tKIlUjToYrzZoL0LzfOZM2jTFGgiP0/3rA6SZlWlWFmNXgvyhp6upP3CmRf+jjv9/1oHC04cDg4PU2aazbrbDzN67YQjW0iRI0AJ1GmKrTi2PzH24vlkB/3AlY2WH2oTMTq/5hBWxfu39sKnoYT273r0UzzPneh6MrUpG+lHuIy5kBDUwT1oXpw+EAb17EghVuqF78zAirMTayabXh/Vlu0oragfd3KLkm12R/4ZyQwvgbnYEDA7OSRFOrSV4WxNfcL299INl6Rol0RWbaGZ3DBbIB8DAWGQbsUL0SRtesBVxCO+O7lGsraG0dD4C1mCmTJ9B0oVqW+JgENuSsHTzYvNcQXs4Kb0Y68sq4U5z5fMrBRZMf6vZrip0WtqgxuaSBfxhvxwfl2MH9mQincwbth/9xPRTnlttgNTgwXi7c9QD5OUNA4IsINT7lLvpMIO2qknXYSRoJ0G7EOhP9PWoVDB8b3y/6Nca3JRTf53Qi0GY+loVeMA+XLIqUaMiUUDoO9PMbaKJwjvSMEH6shM6BOB68BB637PkQhEY0/eo/ECaUXJGvyssUkPplr7kdCPlXEjgPv6SviJbLboggocxVVJ0i0wRRkdPZK6qpGJzE2tXD+n9ddFCI4OEfJQvHpNGtGUNKjFP/bolVq4QkZ1dwoZg30cu3w9ScPh0GTeYeh+J5fX4nfwJhixP97BLXkEHFpZj0MQNBR2COyz2QR5eRgBpoTho2BtQVfye/8nk27qpCUYiSXDnlKJOPZoqiOyNcTqPpk7S/Y/u7Z/yMiBPpdpH2YGdYNp6fHm34AC28Nb8/DOLJimuwJth0FuC9LqLbw5Spw3OrHE/qkfKJunu3WcFW0TfBw/XdSPPhk+kVfg8s1+/N9e+iFOdZZRgHfne5aLzgWbV2BKVvldqWnfIWlzI9hZylAJZ00AYq/35DAUD07B7RTHVGyrFq/grn1D80x9ufltLAnowDPAHfSpH6ruAfUwhZgeol2j9bTg246K9EBB0WSO+GzywseL2/ra8eMMfUIXftaw/ZMn+nKTxpS+8mlvF2H4wUt/vyarOWn1dSdBW6VRxYvZjjZYqTbrtk3vOJjNEB5v8coX/2Dzz4akQrT7KPJtWwmAqntaW6tK7MeihdrNjgO7lW+QYVFjR0divbMmC+qMn2Re9HcWBQjJez2gYom+LNQsyGOqv/2+FVRtvj69QkKWK9egshnJUrKsGan7LmP/p5mUFeRJCi/YqldqBu2IA3jv81Os8D3wgnhKjhLzUqju3G57nuT/4o1Y3c/rNh1phRVlci/ZBzjd17V+NFI/qEDCObTRgvRpTRZYADRXLvvRnMhAz+PUTshGkdmsvxCRKKEpKQ1Ux3nw5oI0N70eObaHOxWSMNQ+aGI9HW4j2EjAtx+xiPT3InLoHrbgmzm0/GLuZ9GPC2c8MRWCS3/Lf5D8lc1SGgMwV0yUg60KrxBiB9SX8EWG7VCWuSUGs17Ad1tsER1mCFwpuV6Qgcz3ca2CnLXA6nqVh4vx0mGsfgNMMONNCNDCTlQlKvK6qqVeu1U00i3JU3qef7d57wH1chyo8Mgt03Fpsv6307LvHn8MYsAytj6K+FCrgVC+7DbTOpkomTkj2NWIghGtFiexLqoetOPNSp5SG8eYZGzgwi8CvYvWdbWvNUztPPBRQYiJUsEgdzVRF9wIUsDnHWCY5tzmhmPL5bCvgNtE/xAxKgPTf+m91eDMTsK9a5hOiU4xgm3v0csflUUsQWx4R6PmV6vYsEUfo8ju5AWw5VVaAjZl3PoQQ75M8iV+ftHwrW9gRYZTe1lvjNLbgsClZTTOaMPTEif/bC/8WEH+PQjgk8XRr/dQ/6FAZIQM8FS7mi4IvoTJFVxMfNIoR80o5Uh4FG56G2J8SijGsdWkMfgawV5cnjV0UcGaT1UHmKaAGxnv35HTHjvxFfXay2GZUcobbgkGwsg0BSWSjHX1zH1ebelWvzcvLY1TliuMUVAX2Pthoo2C/7MvpEcE+5EIGo/8w8SnzvqcDBrgroGsHul1nNdCIQGG1LX5kBtj2HcNRDSrB1amHKP4yssuXuLgZieEHeJMzLv7vztENQ51/BOoAt1AMVPuRiHagIO2Qlogd9isRZq7/eok6BZ8k+oHqYNFsHijcsz0UaHuA9fagf50bQQeY4PlK7swW216xYpvrHyEt1D3KzwnFH8B1V48FtBezbzdYDA5xmCwxn3MJ3dkZaVPrnZ7Dimvl6dQFoPWPa6J0DVrognimDqGaRQ7YVfXkhZSZ+54j2IvL3f+IYUC7Yd8YXa/gm6aaduEyzCh44J7Upc7eroi5jhcIEd56viOTT4B6Bx1eer8LNLvofk0QMJ2JBXn3b1hTNAx5f6EZOd41TpAJZhj/CnOlCRHgKcVUjYXLfLp43+g43WKdfpiheG4L9b7c2gGMTvfFGLIBRVACyeTwNFLfZPO9TAWcBx4EuFFOc1KhVWSArSzx0+h93NZ4E64PNbH1Vsm/xrE6mCPqX4BzuRHJGsXNOz8wWA0PqzcCbXkxVYgkE/BWiN6EeEMC3ZngaCcxdRWbA8AaCxCQOnz3zujK/gr2slFVvgGR5xT1fT+Q+UIf3F8dTnsaWXdZL2Q51vjxjo8rBaTovsGMZw7l/Ie8VLXvpyd9PuyM6SfTyMkE5QuIR6wbhV3fWIAqLRbVtgyUd80jRChIVT2l2dg8uP8KdihbVApht9IQurJJIAznQCs/1LcVDeiMQ+oayQhIEhEQuutSVKX28wVwAKlcUHIydj2vyxE1v87HkDusZ4KIVdtIGubkroAdsH3GtCsBGbmGmqGXZYOe31xUsdDqT83kmkTqcYFFmvGm3dwsjTBf/1FIROH9arEF+6HozE/5UBgzyKDDh8tVuIlwnw9TEhGX2l+vBm/ko4wdaypxLZhUVfcR/omZzugGHLjgilDEIruZLoOyQwEraYLa/rhFW1EXbqFepNYD0GrBCTskUo1cctMdHKUdccp1eCp6uOAJ5uXwjE5PXtsnFeGy42ZXTN3mkmy4CZP5yfA5pDVE9PYuL8ryycfS8VnrlCCBIKNjdKTylXaXiQ8897PcpvaAVJQmSC9byEqvz63fEOviIeQEk9+3Nnz/pTeOsrZ1deZWahI9H9djZfFQPFnzIcvk/kHzEFsJAFWDjhKS40c+gAeEsLTIdzKS2GkImPGWiZJBUVcckEsLp03gzrSqtmNDSBXxZ3KlVzXZW5VhuWWhlZ2NfiZjTcA7LOzIz5J+oR5NRRI+S4ox9CVfiTouqb/K1ttsui2SHeVFRGH1euDSKpe3A7TjMERBM1lG914iVH37LT0VQHmVqUylWe3lyRFiwRpMlm6hIBw2G4hwRgm9wp9uUrIGp0bm3ApZKYBV9igE9q/HwbjbKzPwj2MmUasv/uf7/iUKCIY0/9ubppnelkTwI/C6dW4uVP/2KtYKYrNSpOhqtAOykOw+sMkIcspfFciC7+q8a2Mf0Hae909w1LqaHpZ2MIGOqA3kkTLx+H5HOh5yvC+P/hkGoy6jBrX5mjTb3fATPM/itqGE9iu2q2zGMviXDxP84WOn3mj7JsvLFLsQ7D7+0Y6/KG87vdCR4/FonZ4WYXt74zcbIkVBneWaDcV9mjDXOD/+iClaOlgjEkjNF+1ZmH+ELXdQMyaG0hONmK/r0QnWJG11cmcr380bHakGR6bc3KOFJGmqs1Zq+aKzsYDpLFevE3h1n2yoGa8THSFwTr6RuFqnS89DBw1xp7ZV1ivixwzQ8VcVnOxkKtvWayNvebkfzFqcLeO6bn+brzyVwEeMQq9+I1iheQzYnP+X2IHz06HgDRUcZMAExtYqYqVbY02o4HIztgubi1Ok4TyodI9O49J4jEg9KoOJU9NJzE7R4vQ4H6+rrd7UVDRliqjpxWkR2MYegIeVhZOlwEvITXHkmeytaTqUXdRDFdjALOxDw8O2GOjmGMMPMSFLHH3QivjK6TICiijtMTy/E+OnSLLa6sv2irXCtWmoPAVgJIn9OVS2ZkZUh9rHCCMkhRC4Gb+Z5g6jis494cmxSEr2TintwGcZjecx4abva4qlcJ93KPLiJ3zKJiNHZIMZ20GXy18T8ZkK2pl1EQ8Kgu4H+qv0HbTLwaBhNCXbfNS6sefNHFuvgOI7oORDuv8hSP67ib9Mi/wyQiF5he842qb07YyPOlUe4/TXuNV1A7VNDpzS1dDJTzQYlNu8+uWYwn1j8DH6g194mi4SSsxt3TJYqFVVkwqpoqZzZYcK2y+6yOIAe/O7UTCKu9MAHJeeXMJ9F70pW8VAfKuuyCnDPy2+IFxASMRSVwSE6WVZs1WePt2hPKljqcztBZq9h2WmOkeBQEsYgarjmoibjxkKEQiX+01neDg5etKUfrFuI14APZ/QrBExkBc0iHMNGhhcQgrW/+vj5G+RlCqzCBWTTRTRHteaCf/HaV7QMN4APER4jeBxDdkHdqNw8fyYPySGwO9vW9ipxLErfyOyGqRLOTedYC1BsN3E00KirwNA77Ap3hEoW/liqlEs1ADqOotBE159fxiQX5ex1iLscJaAdFYWydI48tZrERv9NE2X73bPfP9a+Nun3q9aRLBfoyrACLK3jqjH5hLekMnauhd7Qww8OOQTXN/7IWP6xJMyAi/oJsjf+ikeSSmDUg+Oervo7IdF68xbYz/fQdyBliuKpgacQpPmrVlV64Du7L2pVwE5pUH0l9J+6BHAwMUXNyyWlzU7ipBtApXzdq8217zZ8PWlrhgq024YJT5kY7mO1RNtTHts4pK2tUu+Jj8eqhIP7vc+5TI9MV6YswV1dEr9yNBwTcXOzOl5Wl3k1mo7/VqlFKOfK38l6vBU3VvoLfoe6mrAlZP0QE8tprYIuQLUI+c9F8+idjvFILHL1IRkRmvZhwS4kPK8zv8H3pVXBEit7z0XQm7Yaau3lLGv0iu5lm+G5d7TvHp4cAHbaIW/LcCC9iaGxN1Vpj78Qt/RZtFB11RD/EApMaWVDTCSeVAPd8jKW2YQNMSWYGEN7yCBk4mzl65hBO8yt4eBGyA7zLmpWHkI6Bki+LLO4f9IqzlwgOqFyQ7xzVMdtByeHqtavFRtnEoi574SQunqRkBBxkB+rlLw7ztVrgTz5qgp41jvECj7tAclTHwWrmCkND3WwYAvhp8dREKNKZtOAjYcpD3o4BBCl+ePj543NBtBa78+J7+m4sVsW+R0eobakPNbVddC0VPG2OdVV/TSckdLXCtZVkcL8Nfxnee22n6UJlNfzFo4NwhBlF2RkgMsh9EMGnDXkznxO7YbcPSD4R2Xg60Nz7hDBP2tlIaBeg6xP0MMGoMG9K3cwRMK7kfE/s8df+RLNdkHOdmo7flgQm2WtLtfu0V6joRHSRZ9bbM1ewTqSuLPDQwUViSobMNH2HawT8SNp5et+ivSXipVPLRNwy/17f/aRlJq6yHwecMSI15tsuCLOb5y9vZFEe6dlZx9tILdEU8dEnuCG0/FavW/xJdq+OQNzGDvs5ZzZGFsmFohF/aSb5oW+4qDjDAerLPL/I54V6UlBy2GxDTnvN76D6itIpbW7lZsaaU1JaAr5LcDYeI3HS/aFDFm5UEjLc3u9bvfEIGCjeeVKV60SuseqisanVcZi5hUNe8uzRd/KaiXDBLIIjU7L1exnSnGPiJ0SOtB/KNGI6ctjphvo9/oQgl476uo3130LHDisAC3EuXPxWD8SvqqxkG57+pUPoEFXfJG6/sIF3h4uErPs+qHh0dfDC5hOnFMjov4BJczuV6dPMKwq1D6OmqGP8/63hcbOVSx21vmW1RJcXHAHEisRjdyuSXwlVDTHZ6uaQKu7eOF9yCBAmrDBzRjQCZwEg8+qeJJkZJGNSNhEGaL+KbxI+owmiGrK+C9fC3g1/Ppn28SfEA02Wm6Tr3xM7pIJdO7s01hViS2C0gkFVcmvvunI/vIh0hhlP2iew9BeRPdRY55y+7JhGZvPH6zSbvrPQfGJjM3XozIVLldV6S5xtD5gHEtBi61aZkwyM9yuDPd0TJsFrIp3ym+DxLl0IjrTfkqX2qZfNlX4R3x4gKmTDLqtwK8/PcoH0IpoUOIPGds0hvIvtMmNjciGjfNEGFBGwh7QVT/QaY4mLP66Hu2W/o2782N8Qc9Wd7bTmGuxvW1FkKZcPHwKDrfuPsCg7RGxswWkFPVcMmIaNHCr3o+lJX0Mth9R5V8drTAtliG+WgMD6cAewuIkNxZDqcJbDbPdFVDC4kWNVg+5KNftuobiuZ9VXleU2mLjj++TbalPWqRfIYkrT1Fk9QDi9lxCQHkDHoexw0mAqODjwYqc5uru6GTy/9U7LzUzx6uh8ErSUzaYGz9qRZ9ehuU0QRcLt2bGjPjzPaNyfXEgcYnRiVqD8l2CBCxGcDrzw1Po/mpIgxQpSqfAS+MCGoxh3NmYlzRmGdISA4RgO9G1PHrm/7CNg6+uShWHIOaiWuEPKg/tXpu4nxqdu23cVnkJDV+Y718NoErQadP8xKq18OPY6OtNQptWFsgF9WpgTClt/bc/sX1oHLcqjSqyTzCf5S7IrgiprQAA1H4/cTq3ALDeyt1KF/iTyP2q0mv+selmh6A2ewlWrXtve/5hIRzp318d6RGx+Dc/l6DT2YGqnnfWW0dWx/YRjdKFzxJhYW/znIGhiXy+zLgpuRyyHtVfWIEvlZX5ov9GMAGdLnJKsSb58kTz28U/1WjVn+DeKpzh1yd99t6UNqOnW/hHwQ6R4Eorq58PH6pNWoGFaEMbkx8qQEvgYYekbUmrfsPUfQcPcybDGICLRUO0gZaG2NTdJa7GKz3Q4LzTV8cWv/KTEuNxUr5jfqDpmspUEm4EtpSx5NAvamAgUZIMzL10PA9/BK4WbjWIzzxWNEpN92boqQwTLgLdks14V9lnWsJ5OqT1qAwCHaQ75OImiA4xcJwi28QGv95PkqsVhdO6GRoA95kHwcG2WqH1ZBMbiKzkdf/suhjwMIkErSbFTmJMwcAVGINHs24Ouj4bpt5BhRywR52HtWT1TrguZnrbK3Flg8bDzPg0vLDtxKinpeHW6HvZPhMESdxmOtfdywTJFybUFzf0qoDCpMqwBnbJ5wXqBvf4rqQkhkV3TFYkyV7pG2etG3WZI3kv0hiHkfMxsMHgznhEoqJ5FokoXTJSrIfrtMgYrhVsJHDNdMhhpg1KXdSuOIpIGeueCukug5eBBDkvvtSEmFqfWwLxo25nbv7yX95hxD9ryLXNcgSewQqA3grPZhCs5Ph+WKyTSeXwG73uLUg7tllp1OBAYTWsIMslYz3QbZHc0ylgHlUe77lhJJpl6sgEam8DDmZgQx8h6eRq5JItiZIwnPuYwO3lyvFO7cgfPV8u5lwL+Cp5Q9yVbjZDxtI2pJ512rUmccVczVW2OJKSxneObLgIIKmwxMi3nXLComMDJ39B+Px5v4UR4daQd9FXIQ7/WK0yNADGMwpcw3yoXbTlg8a/BXn9Un029o5tFjXDFkAuvdK21VSSYG76R6EEyVEDrw0AzGg7/0pHbMqGzfY3VuXOFmKekKXLqQvHRuVXyySsJt1pL1lEoh3hvgknPSdCHwco+OwAHyu17oHU8291G4q5zy5KsruxbBJadny+wx/7H+UYgla5T8pBzxJICmVcCryS+NvZmiHWbH6kT6QNQqJ0mGdTi9NeBTN8laXb9aAk+XvFdYEj01X3+6h7FpVZKtE3fTVLalqV+tfCoqA5ccV0eauQ+0FrQW2Ys+mtw3hBi+1nt210aCAo7RXsLj27fJ7QHUM9sp0H4BjVT99L2LYOP71W1IGehAj15jWjQwHoKg7YV0YgLX4I21o9Gp/l2iJAPpGWZs/U136/FyUOqkEUZG3xhdKd7XUJloakyVFiYB7ivzHoAaVILzI0+5gzeOj6UAQCyGc0WFS/2mSx2oFJWCTmAJUY+qXouWpRse1modYw5KWIr0Sgrr6Yw9/bBBs9Y8R3hebgft/xxoLBdHQXWdhtEKZaR5+WWg9N8xUnaQAU/wXJvSmPKZYvOTkT/bQoy4WLkLaUC/r5EUq47pcEDUODdpMjNZAJ4Rem8iLHq7WeG0Zw/X1sikBhJ0zHKZ5kh6lkmZodR1zw1nvaFXRCGNBjYopwwt1j0zw6DGPAoHaIoiEsbTv8NfOHKNKwHNqvBH5cbfl53v7wQwhcmfQEAZHJ1WXVsY0QHZbWcY1I5v+89Ri3uqvtQP2vJ2S32A5ZIAmrqiBBhfMMI8VCRwAXjVYnMHFOG3XPQdNrO9N2isiFg/Kn3NNNOhngtcyOehN4ZzY4UCmwR3NcoJ7t3iel36y4y/SOTHBgfKbfnckYDOWS5MOhKZX8KYz8uUqYvJ3nvegBk0Cx5t53WWn6F2J+m96ZiqDrTVZ60IxeEc6/F6gMKeFbyWifrph7H8zGDE3hYHblBEXaOTAp3iV7jENYzSaQ1RDttSI1P3W4iWFMM9swseDsjVHbjRmlndtqkCRaC4wwvxKblOGFDSJ9jPYRH01qzs5rWSsnLITjnRvTzqM2b8A6WQ0ZfGt1Ap/keThEpN2AV32NcxtM/EInjoryxhcKaSCeCC5s7jGwiPfacx9kAEobeE4qz6MEponYEtmQb38NV4EELfsfBMJxSpX/hlMqLBtVbmApr5VPkG3Dh3EEnHlSr0LNC/5+GRmYdweEV0NwB33fnI9tEqcsM9m7i0+UYjxSEEgkjgQMrJwxuxECNCZ1s8lHyisbjdTe5bQ3m8Hn05jSTBP+UVl8auiQQYuZaOZh7ou7c4Bv7evqgpzhmpWHRzUFhRrBacRU3IH6yJbe7aVS1ZvzKzju4kxO9dzc/QlYTRTxUXnPtLCu0qGhzWPYU+yifDZuNwNVFREYEd67/S6bg4lvWGNuHDDpJ6irgQUftjfegfFyA1NntK1pQuj5mTrMEneG+S3MibNbxCO9sZ70Mh6Ah17q+qXHWPQLipusQVPq4sEOLQhn4rLb1LRy6JcTNE7JbG5SfBqRyMBz6VzRbV29b27kwIausvS43bvqhBvyqpOKO3utZfqKleVQca6CcMixpNviv6iZ2xE1L8ukO9GcOZPHwPwbZnvMwvM/xdoZycbFq6fUBh50EExsZVusqE/W5jnnMSRH9kO78d6165i+McCI5UxN445nocSAf6VoFeuQXQl8s4ckQPSVhSd8H6foNbUQT3Fj5MD8oVst8NoDdivVH15TRZJzu8nexRXUhOTSY4eXnuHo0thLSkRitJORlvkdWXc7jYmOcBv5Kr6G/Vpuyug19FCTB6XOmrJVgnLdWMDtcNm3EfAmQD5+WtEvkTbKR16opoQU+ddOYVkEdzvt8l+8/qHDr9P8xfnaX3ll4E0CmeHSli0MYsC+DSUV+Wp2xKin56YIYvLVct5BUWsQgbaoFwa37kzK1GxYrGOY6VckEQ+MNJNLaM+hEa/ZtbaL6A4ERApvCa6Eq5fxaA0IpOYdpDTnEMSHLvO0ZnnYvrmCSNdkGfE0WUAoYtA65/YYJX1yv0Q+jwzqToDabC6YmiSMYgaByXA+sthYobBJaxaqBeJ1UTxeji7Qyoz57AaFoBGaEyuBhbuIrwQxgCyDKSgiL3JRK3kGEyXo2if6EOBfO6GO99HTvRQj6LM/9WI1UTzdMMHcYZPZJfOPAh9AVIUIhA7GuNTB0PMfJh2pfel5p/eXHSmygChJCoe18MR3SmvTT5i2363VfYuM6k+jEi84qAP3kHs9ln45j6QKp80OXx8JHobJ4OrAVJTrLo/tjdBS2YWlNdhud7cG5nmxDSzh4vhesioKW+XJuiEBCAc1R7TtZqHtYmt1jucrR7O3dALnyo6AexW8Y6YJ2oMdGT4NNV5RhnFCdGEKGqqGyLblKNooN9+zLU0/kBNuJhx8k5zPseqkzU9+vxwAZQp1qFU3qdjxZC85s2vksRsXNW8K1ntpNBsF8CP8PRaMeqILYgPPiu8xMOiRtuz5H2SDikMwU4rTy7C2LAW6oL9MCdfVm8ukkPrtUKcNGN7o0tAlnaNe5ITc0bBIbdp0cYo8ajtDT3jpHaulu+4x0pd1FSigjvDbFTitPuVYMeFzaIFPkB4NpHntQzXRlso3A+JK/KugjYmGqMhzQpqasuQn9GTBjktTEnmu7fpKBUg03Tibsh0gK9UQzpg5yC9gxyUzbRxIlVmCEpELj8ZHwqt+auMzpJXuwTdF0Q1eHaXh6hq2H2d944sFudEjZvRdcnYaUUcdRTKTog+Jt6E3bGqms1nSKCBCW8LP2oSvpH/g+jlSKhrfHsB/ZKM2X45Q8mC5yMbX/d0A2xBfVRMimTnOuf/mzaDCz7+hPtbUGyuPmPsufOScBuQ37kQSTYfuQ8AOonPqBzOpaGyXrTa+iqWu61MsXg5VkpXTXN/rFXSHsCLKEvTOONoO/+tW0yvOYm1t0Rjh1zLRtMntS8y4fvwN8CWgKTKATdZRp/e+7md+sSAlQum4ZUxzL2r6YfqRhYNmaFfWub4ZCFSqnZPq8bWL2TmIhVprNk59MBpf3dYzSb04pZgOvGZqqqQpRPfnHN6u4RuUsHROVgyMKsQ1Cn4/pR6Wt2p5e6d2/jFBso1hhlP2VfXttzRepNFcuvhnanNmvc4fT24imGB4NSKf+OYkeHh+nrswUdpGwnrspU1OXZ+JdB0ZKvj2dsfLk5bEz76KcgnyAAcU6Yz7YpUbucunzttAD9LgHEpBaJIWo56OrFIveY/hkHQ1RKmO5MKTy+25X8atiPoPABTLOYXwjMz7Dh0ks0pLSXeDXGtDjdKAg72lULLrOygfL86s3VaHxvADN4IXTAhKHGyo2Jx9fWpRmO288aMv72z63m4cfgIIMY6rSyZtnDLAQbK4b1BWQgWO4RcLmqdq28Er4yV3WQWs47mSrcKSAJkNkgucup7qwKeYNhHA8h3SZE0USdit34tbea6nsMWd6i5nWQmb3hIV2kqqf+O6D2UI3n5qEVWhC66nKrjLG5azrbJGG6HYU3gd9GfPCZ5B8Ogkk8DgQKuWlTNBTvGXwXH1WAGMqZf4N8c+iiHwGzQnT/2Pt6p1Tl7oVecwsfN5bMxO6cPsg4PQw1eOrfXnW0wfHQiWfETsgIcioH1bcrwdZswXLOLx0ExHEbtvFV1WDATDLBoiqHlvBJD2KP36e4/1S5TdVfh0AFniNfW6aeiP4wxNspE9NG+cncfBpPZMRfXf5/87ScawGto3goVKL+AhyfXWrRjcKMI/iyiHHg2U8fqKWaCEkMBNzpAoiubJ4ZKI4eFurCz5Wg9kDnKWMXCcj3tzUbtHFgjLSDA+7MA3PuYqz+N37FrXs1tLA7Xt3c6pUl5JdOW0lQQuks5w10lTvRuFr6XsNwzEnuT9pAw71O88msgqDqEOzIpIxcaIWRcyI+IN635nrMfCYoJbvepNDBzuA0V39dFOq9Oac37vsUrU7a+GHttwziovfjeUxx/p/4g8PL7swkNZILGlz03qS/ipU60gPS7MHwyeIpBf6v4GI5XZVWY/oo/wlClzvBD/FeKedOjPSrfg6DIQ3Ea52KKGB2+UBsuW/vRucWwv+PJ6oA3dh6XASrQseBB1DVwj45ZAgUgYGskWRnNxcVl6JS3h0KB4EkgbzR18YQhTL6juL/UqYeWxS9hLT8AhDp2rEXRzFMeAnUXOj7ywOmPjInGQ5hlz/0vuVAwQoYXroe/b58WDdDypQ6R6Z/ldEgnhOSxSQCEozBKErehSS8mC/bYBG9DfOG2eUrDYJV7X8SkZ6SkTdXneteWIAfNVwEk4KNQapTdmPWA/k/CKCg4t+Wd0eEy+/w0A8vTHNBx7C93Y0IxS4r13ueerayAVXTXq4bkA1scq33NrtATYpiD2NbVtX8Aw0CCCs3+5ozYMBIKxONMW15aUTSbWoyQ16WmghTW4mn9OMIp8Ia6iD2awYFMizXp+myGkIN0ZMHbBRrghgm2kivOq61W0CXsy0nnmRPKX0Ig/n4lBeeHgiLDXqf/x1fqgzlZAxbDvr+pIJVUDjdk/LA/fEg5ixJ2IdCI2p29LjyDpadRv0OuZZbk7pFNGU+hxbdztuM+eyxFTZRnGJy2DpBRmZMTZ5aLqcDxrMZ3L9OglLMyjZjBYHhW1QxasKcyD9X1nNe+j0ZiNto0e2+fqdv/9M0xg+gzrzcUqjlvwippgyCZNZIGEFGYIsq8YuUlbZBvOR7sL6mgIb4QxH0I5BOqs8VhZTVPdP6/LsZpeD01dhkI4tAPS4k5TfgH+c8ipKkM4wJGHtMDoZ0YUMObv/ueF3+EiPeFonhgZWFGGkFk2EhNkvnR34r1pV2M1CakRjtDEGgSdGf1qWD3WtiaXCnz+fhVwk6fwsC8r59zTH/FZHM+cAzVbtYQ3Lhmwnb7DupinzNQl461Tm6G/OeUTRNSX7qtbHc/2L8joWIF3CMii3Jpraa9yWlN7WvXc4shSNRfuNJ4xDBI3rv23iTP5vf53QCXwA8BEx44TDtFTz2jVVc7Rd4xJqovttBFUp3divERz97WLiC3kqiiL56ZUlMqFTd+P7EMD/UzInI6Vub7ECj0rYb+LYPjIR9L4ITsTO74SmHY+RWJC2+NX2/aHTeN/jYLjwCUckU3tiiWlO1K4a/Pg/rpMm6PUMtfZQDp1UgyUTK1LQSnA+fdauuwtDSDArDsk8kUW7C4GD/PQJG7qAmW8Ed8i/AjqeQ0mDJMYfTyks4rgy+lo7URkP/JrP15pm9lmK/SH7v3jIuNVU677VOcimwI2XbkGB11oGURlB9O2YdQzEn8f/RODHOI1UKON0gXCYBAZDt3DiIEoSokhNyGwdQ+uv9OoYQaT/rusnwnbnzUPvxumx8dwnFOy3WhHG5wInmfGjo3xTQIqYsiFgDwq/cJqNphh4a6M1DyG8YKmKfOqkcEuS4jfEQd4KbtTdaW3E42PLHOODgJj/4DnUgeP1ppHBxWIKGST7WHs4mbzhPccsK3nBIBeDkSZZ01ooSIuN0Sl0CIwsdz6qRsMHk9/LX94huTh8m4Dmn+DUghDmUAp9M0f8GS/OmnMGvjal9mkeGVRzZBcLleJIVQpIsIozKUX/xoASWA6eQffXJD29Dy1PoSVxuyMLnoLBhhxX+0UhRwyLt0MroYsXCBoXSInDy04HQpvRWu/Qtz3XU6Co65d2SJT9WssahyahfCsewsfmFal690IIr5ZvtDVGhn+oXGbhHO/5a3G3PfgCKuf0s9+9DBTGJqs+FLGOrY9DBySKLeU298KNhSvQgWA2j5xM6IcAeA7Nk5kZ1qEnTuJ19mLPHkKr45uzwNIBCl2fVAKpu+SbgPZ5QSniseJhbGzoScVB+VgbtSBjl2xejuyAAA5W7GTYHCOXXLtoQOfTWXgTsy19J4MZzm6z9G+rgrPE2LRxQPYSUglN25MVZX/zLnisXyvTm6SviF1RvgQ/NgDpN8mmnUNM5ThEnctAI2ATT5ZbTTGbfQWN+e7tSbS5rxEz6bnLn3Kw+JFWQNsYoQklOw+nlWRfxeuBndVMCpxZd1OgFZmnDJ67RQ3xB9KG6eyMSMIvyImToPeesABl5sY91ByIBVO6FarMRoO15uh5iWgx0p62q7/IYHbnIYJDnB7nM3FGChtDtGtrF4vYhA9LrxD/Ly78y9bmKQDKxlRUjbCA97fGhWV2QrZcV2WM5ivsbt8KK4EjcfjwrfNJKGIxLYm+0ctRv1p5KyXs305oNgNCLiW4cnRl78zTZdhSEF1gO7tqGiiBZ7HhIoSNbykgBrNGH38WDzEI4fEMQArTcgyHDDmR220ti/D8ZHHv+BqHuGjcxPffPFXZFoiH83BQJhbppjmRzHafOsXkWW4qvGDUbOWm8D/d2ZykfNd4DXODqOdC3Cr3dbuzBBppjQrTZ5vhGMSUGqh/rdTrMn8TlBqSM7IbC8B40CcrIeBkbyaQHZvFUL1wNZzkuo/FBJyExbPT64zaocuT1ZQmVUUr5BjTS/hQdeQ5afiq5TXoCjKqMbAuoa06GSRl2j07KnppEifE+3KLUSELL0ZDLcI4fXa6dhu8zBiC8oBTANH0iSPf7vJfpADx3OISSEWtbOpENWSQHMSELNUXCEhnv9jXjrj8etyfjzss2OWAEigudM3GJ0H4QEatsoJckxwgq9y8DTe28bhcwpa2Ub+p2K1FzLOo7RJvqo3MtPbP3SGF7o/+Kf8a3XT1XGxelaYJ8POMaKEDT3Vim0zz8zrdiTpiVo79mtnhyQg9rVsGM6ZCwtcS55po7m9zv205GQMBwacYxK+8qLCpNEY+/JWKVLmTVoNYeellRMWzVrKC7W8Y5W+UoP2bCMBanM+20sJyL6Baph+R+uu42o0INm6eYBV9BAkB3RVu91BA9dhgm8qVkv3fJSwlum3/FC+/kZk+1LQLeg93qALJ+YwyHhX/yP+x7ZyKX9jHZvoWk5ysR8pqcMzZQCKTd5/KSABuJY7aoWTgH500wNvpeIfVHhrq4XJeKmPPP3tZGBgNBe8qtF1rErY56oFj8yP9GPCmzLbEMpZFsuDrK8QERoywbtyO6Te+7WH/u9LPzy1WnJAFo55nTHp+BXs9iudPvVnnT6uroYhoeUMFmoj3E+wJTIZ3IMkNKgJNIvhyo5hNZuLUWKUdlJmcFWwH3+xK5yWx3hUDthMu5TLRllxRUu5cFxjdEXpU8fICs6QP165r9N+BDxeKcNs1P9SpfCt4CKBvChE3BYaF2MgigNHgbFzd/SUY2QmVfmkUME9tiEfmI9wL7dipHgHfgKXBOwKH3orKJpn9aAELPcpZH1LUsEiQuIMAa3KjKeDcmlTsMV38jZ1vovWMDLzRPAnWMjxD1rpVUfJJ1YfZIREn0hSeD8ZOEbcS8hMN735ty0ftXSStHpluTTMSb+D+7mPB39Oemc9ALew9SnainZ/BOVg0tkl5ELPyIpcswOXuAik2BAYEOSD2YP9zmMhESD7p8KbVgVOJv+Z7wetoMjXk2djyZyyuZeKDEoAUXYLAmH48FbCI0fscFlBZQdWksPIAEsAN0ctgwCf5L4fK0QbzkYxxuuZn0iAkwkqVCI3mX3fhFszSND+2B7HIUWwr0MNVu/8Z9Qwx9FU8ib9R2LKWaHl8oXnlKekt/aZUYdE7wjdS/NMLwf6OBnzLF9j236AjGamfx76l8bbr53Zy6pMbI/M9AauYe5sYfkMBbOtKf+2K9olBetU4fgtaVyEgeJAc57s+mE9NqtFhlcMUUVSnAIFXJH0zlsMoAAVI1BF1KrWi6upv+Ej8zb74sl+1GNvlIVt6qVYkrGid3si7NjxuAaC+Zf9wFonhTtIljs2jJrDp4NNi8b07gTn6AScEbx+J/y4Xu2fqLORQGQgPmZLlI7U7/qz1EaL6L43kNEJsrWGsLPvKqT95arzqTj1UhTM5SAXMTPiWAj3QzUSL0IS9ObmDy4nI01aVpkzGmM7bPDCC3IJyV8Uh9xYlWsNg/3ntlGB1VeGVfOu5KjBas6tLJkES7O7v1DYWH88yIRqvgjaE04prk0w3o1ibTEnVtp5cYxBclEgWm4kr6ePH0JnIqihSu61cEITNjBic4TVrmcK4vByq4n2LQb2hTjqlJHRd6YXRu1goFx417z5iQVujxHnU6a8rR4iuEGv43EsFBVQ8wzn1Pw2oJ6lzQep1doDyJ19oduBzfbKzFDBrVpdFvEoyJuGCwH+fDP80CRqpUATrlp5L41eHUIop/FbJ2POutGsY16STDzrbgZGx57wpge12VMzUCbz6qx6MxnIIAAB9ApaWebWruZNZeM+yv0GBf2wQqSRlFD1LL77tfWviJEaopJAspMJXUvIfIRE7yyuLc0yhnXa6MMjZbVSyvL6ctRyoiomtafp9C6lq+9sLiVYO7k69LbOM1oZ0eyTXxn3mdwJq6y7lTwTxDNYdeqcpQg38coUdGw/VUA50lJU9vUcOqINYjH4VnRgI5rYjrVRKLbvetDfPXQLI1W7il1+WNt6FznkPxxZrzfuWwWW5RBFN5U+epXIpKhAi0OcuwV8Xa+hf9bvl4kW7nNBre30aYJixlm9k4D59pCLh0mxoyVIwjRz1mdA511+mveAIehPtV55Xq7SX8uMHFYWqxGpAv92KiJQjMdokZ3RHx1QLNxVPpsABJcVcTgOs8iKuvU3tvQaDxU6F3yvj9Yhx+kyE073XUsYsj1MyZlhSz3TqWzqFrg7/HmCf1nr09cdEkv5eBSQ39BJv0zvTBrlv8fihQRkA2oIko1UH1QbG7TiQfsZ3/RDlNrizDVHYBr81bIuTVBsyN43mZKTdgaReqQkUaCUmUyKIHXl4i3UeobtIEQzc7OXtIJ4fSqZwIGfc5iejOWUor3hL3ZsZJVHXefCw8ks+/+1e+yXw3RkMFgnbG0mgVMSamLq//mTVhvayqS8e0me8osMpiyF6f/auRlyV2Pt/qZCmfPN96Z0TdeLXYz5cq/CWnkx7nfKSd13ctfzKqvelTcHmqoJ6jgqPLwEzkoFLyq0+x2mWz34JsyHydUQOxLpucUxtxlSaj4mYAaEJI6ZfQGDwtK99fi4ldZF3YLu6yAb33xjF+3VeNi4vsCGzp4m0reT6yvn53+m1UGfv8vK34zi6s6kUIf68Da4HuJMMKt8R0VfTL8sV1OKX0geH8yQx6P6O3OZPUU65eXeYA88EenoAfsSA+ybXjrAQm3GPgyPV4IYA9Zqz8eEnzIBRid0xD8KeKYg08W/8eJJjlteaz/xM7osSUcP039T97g8oIKsTsVRfXQVW3zzie92AdUO0FL7J4FSf6sTlx3PaMhytjJW5t1HZx352jT2eFAP9ukKSQv3V2XhxLchJWPPDrKuUyzKkaBvM5REenV/vKgj/1mbUx+1v6w6g5f9QE7PfiWMWoN4YpTIZFcUX8bbQljBkyLSUGQaEVzO4pvrXWgzOwN7w+2vlO2uAdXYDfzLeR0OaTQpeoZ/bbIzQC0U5QeeYprw9AGydnfr+YXor7grjvJ1LIw9cz4Bi41hedmiCel81Mm5Rr5WQov29D5H9yGlThqrsWxN1jrbg6RVENMM17D+98hni9X4dxgqIoHf2Ek4qSjulkpaQ0vj9eooELqZv14UNoi/zJUwvRQaf6o1hIPESybWdiTgYYBfqPqO7kdzJPpCHSirr+YPZNGAnaOaFlwGnyCye28JBuUYFQgl9jZwzHt0/E/+Jmdv1M57rxNQp6s4vqw9/MB8dmrhiM/SDtpRaZlZNFFVMDJh+k5cQ/PAC5BlNcK/G5rkypDYMdRc7g0DJC4DEU4PSwK0fH+de5TuICJy7CqDDDSLbDNcSPAEOLXDukYWBQygL/hgku6H7ymGFcBy7mG6NyRMlNVNu478/P1NbOtldjnVZpXZPKo6Z7HREgm9EB0SbMOXP49Wl7Gr91SPiKY5LktQDqhPVFyFNTB0/CCfilNdDfSbq4tuSA1sUyZuyEObZBdM0BFZdSF3SlPXy1a71cmS8u4TGgbNQDaG/O1ChHmHu/aO/WwGZ9XXFshCcLkOJitzWDKSVqBTojPcfunzw7m1caSMZt+9xsiTqVPm21+pmDuTIc8IJDHIkQhvGEP3yUXSq1WllwzEk3bt+AB3rUxbW+gnf0XroOChvDg3M9Tsjt0olt6hXhV4Yjq9BFyS1o8zTAe8PfpmeY/GMCeV1SVJgefnJZeXhVYL6E9g6giwNRwkyip7CfZs6GErzTaLrgaG504Lb6zvO6evUDuZa340lXEloTX3xOyxYNgdovWenR/jXS0zV4616spGsrwEWFs9GswdMumc4NexPTqmmTDz58Lr7khZfCfLfXJ4LHBoTRwP68jFqh7QhyCPZ6pvrYsfr81/A6dViXtlO2jrXiogVt5fGc5kTSU7wCA33NDS/Pu5b7wl7UIZYPVSkicWyyTtDU+UTCCKbMPUuXvKlHDu309BHCDLHY4w9Sau523P9RZhPNRpNk+XcnREbZMx5fkfgJ3S7L76IFu96ZFBvmbJ7qceAWc9Ky1Wh21qR/o60uh434Vtzp3ngZZuVbvgLeyguRWWcds2RG9EwjIAwXKySTnnCnqx4YV6jFC+R+N8XAh48bSDP/4hXmj3lQOQxe72mX4IiIM2PmC81YHkvwo+9d2DRKtuNeUSQvVaGjdcRIkUMfK08R+3XaJJ1QPJdHccJdh4tu++3rBJGpU9h5B9oBfEadKIGNPjxfLetIziz7F4Rj4QyPyLUo3LOPM37twqLboEBMUiYsgoAEI6yzUmeke7ZooLYNbL/EyIyLh/3xDpSeSbdBCBj1o3VD5layiL9aCvy6KdmaG7AW91GMZE7YBAh/t7laJsPWmE/bRCxej8x7pU4+7jiI6cgeTUIwrZIs3m9sWG4+ZtYKvzdDxlJ8B4StyFGGoK82OjCVHSwW65/MUexs2F7qnaatCqKJoaUCIrJJQVyIIInZnEACcp3zqCzMFIMZQ7d748TN0zEctnwmbx1c1dtRFUbNOv9vsPhBSaQM4ULQY5ia+Fc5Rm3YWJXus9G+XlnJps7yi/655nfQJ+1l3Xi5nYGafCqrQhEZVXQpcorYavpLGXTy1hEbWWsHkfBYNqw4rhpgj9UYiE1/yyKXFB2TDIm/W+4zNHIkoGwpGiCztohikksTAMOXO/q3M50+rUIyy3CDiITpA70DCHaXDDkkzvrbzFIfwtd6BT+EG4XkzwfzlCG8Xc6heZn0e/pgn73eSHHGhULRLACXgUr8FpT17FHvuVZNsOJS+YtA6aFGo1qYaZTQlgXIB6/jUot0gx9ivzUkMQbMbenk+LoTx5C+c+c66JEAwpKi5aKWG1dyG3qaNxYiY5R8IK+f4+UMJ0lA759RuXWEi0N+mdw6dBAzN3uhgpA7khhxF7g7U6QITGkfhptBmdbXWbhq80DUfIYCrzyCz98NaAjUpyUKh7Zg0Os8moQZaFGiU03VpFnUWzX4FOM3Yysrw21lVYAMT2YrnYxzr82avr6CDlTlDRXycvME0LmGRd5opRu/AN7d3ohPSWLtxwcBQm/efGRDuBQa53gwuw8ksVBplznCtfUj38ixLdhBFVI8AxBj2bcPg6UAIUdlXU2pS0WZLbUW42FbsuWKxQ4MPFphMd/EkXPFGHFBQMYwqlSYiysvDuUEriBfoJA1djiiIolOnwCfobHL0m9arbMfxG9js40a0qwiHCARIW5ycq9pTlVubd21v9xc9HdzwYs/2HgiK8gNSwEl0mzGW+r3b5kwPGeZK0DYPeLXP6AwmzXaNnN9XX5V2+6CEh8lNiPM9kNPAHwevMSU5iscKHc2lew56qq/3XTNXY83Z6e8A+v20Jn3cAoWeo7mpsBunNqm/K4QUB1x9d5Tm7VuBBDKq6Y8biE+8RQStQcAsOowKjL/HT05niCpoyfySGBwZF0TPlMk1DI0og+QGBwBCw9CiD+faBmhevtnZmL8z2VhlvesjZD6yQ/6W3r9YfJdowWiuoCvzblhOnZY7+OY3S1VrOwMQNmAxIMHSv9Y1+Aum3CtcAc3aN+x60oHdGoO4R6kYK2wCENmZ1gF1MgBrA4aVZxWDZRQrZGZG9SnNkHk63xJGydUnRmOd126taQZEd6zPLyLEeT659UFe2hP6X9WcApo+YkI2gh0sjFro9Tp2XanNs6bWESSB/AhzjuDYdLkEeR6tV07V0KpTXLHJwceD/RxopiQOM6ld7HVSL8gozx9N77MuzHNPAl1rQcAjJ6VeYJKDbP4peuf8LPXyad5wbGdfCW1CP0PuLKa81Y9JO9EGKcb2Q/UKzz8CjpBFiJkB3/dTlU5XH40cpFbiwXyWZTfzZiLkkjqhQYPkm3KKWAX/x3Jn/fRVrlXI2JK+pc2/XD0i7+NZiAKR665yqmvMJsvGLjSq64kOzqKRF9B2Dc2RP/HecfMF3OiVAKNIweW+ErQx1wwF1e4i+avR5xjcdPInMHzjgpUEg4DfwxE3AbrM6cHJOi7yDqMQ4WIvtTHAioMe6KGxToaPksye9ejf2zYd+4DwC0mtOCJVVRH3XzQBWM+6DzaM9l0JGfhIZ4O6s4FPnos1Xdq6H/lHX993g0zYfG6b/eH4G/bu8q8QqQFH7yCbBaOnRwDdQNRY1i0ARzZQO/w/V0tHiBWrfixJsC7CxoFtf/fGwwidOBPxrt9NM7tSxDsh6YwafcntzJrkzlnMZUsNo344SGZSFnC6Q52Rx3MtBxRgz92TBg2PQY/n1MCxcHnTJPzAzHssS2TvGZyVJBtZJiOq+Qix+r2lV+MditWgTNmlZoT3Oo5TKWwz0s9COTvNMQo83+8RodaQZ/sqpvOTvpCONG8IeuFIKT6ostX8LcxtzZC1f4G/I2m/sKG3ulZWdjIrwLOXaDQUfaDLQV0p2dst2DGXTg4xMMzXzfAEpUhhtP1hKkVP2HyueHfoje8+6Kcbst9PC09pfuxVVn0yKCrEqPQMuVR/f6qbaxIUsyzmphyj8nLfcYeaMZHoDR6p3PZYUOsTajgiHxLSBv2WTI69xkrIunS2CIKcS1aa2EVmCXvx9Tb6DgQgvvRaCzjt9nsh5Z5V+9yiVuOCb4oGhspZasFnja8wLz9XNJTfBTwmDOuZX5bp/YK0RVgK8pRxXnJrqNIuMGkGqiW/xazHm1LdzloteP2y9fLku9ZyCgve7cpLIyOp6YtTBkHKPYypmj5yF6p9ViI0r2Pn0/UfmtaKzb7MMxQ+wF586GPUjDwjH+nNb0MldF/kBAYfBxtZQvKGIaeCqbtgMxO9CNXYxF4+xcoRH2dp6gylD+E0prappPk/+8epEGu9Jyz9mQVN5U22i0t1JhWsWYZ1BYqqhsjtJHIn7irRF8KlPa4vXNczea0h3BPWb+K/33UlJMs3/LtKnVMO0Y8ZKrjT8G1Ecy9Br4YwJ/0ww01LC6uYrusRDTbom0pFluaZfrq+2lWXFtBjwxK7rqvmpq6ELk27D2yCIkxDzx7wXj+cvPJiQQJMN5wG6wsV7zrVIhgmYiluxvAdlPsrGb+F66JPuBU3F/G6B3Aci/H1SXP2El3w04Hyd26EmtQAH4WKbvCktpnZTo+WJnJouAAd5HIfSrV7otx/8If1ZQbkyrSakyWlMF3jLYXkbmH5EqkvJrYyUz4tmu/FOiw7DqPZpilpbCdqEmjcBKWhs1Tt+5MSnjTJ4GtkG37slyTbK40Dbm8BwBR8yZZFUXfbsXAY/NOfG3Q113zT/QnphCV6diWOZ3JHsCfu42cFsbx/CQPU9Xq2cYEdMdQvHrTezCs0t10C7j4YXi54DLjDKsyN0jHredsF5hMjZ9J9jBjHLrvyiy0+ebzKVk4HRPFQ9rh/XGo67m6wjVyF+w4QoReyGY33gCGDqyGuZplxjRQu1lLe+Csysok8IsSSX3T/Iy8QVhnmyb41A1a56JeEisHT1VCeDQuWpe+U18jjzxficvtfA0N0ic58GGXswf6w3wStt2JS/f6oJpkSUbTfEnBd/8Rx5KR3GovnikINHQK20cUD2irllvhgROlxrnJVkljx6CUTCNgmQUXOvMJ4pPlNHInrkU/UGSv0HvOxvZ6GVFUhLOhEg974UyuTFB4+Bv43JeD9l7cabCUQbluCxTMkXVDyn9rI8mAFSNwIEqqlhLxtWRw3EMJOASMA1JQpDJqtCzhen0l7BOBUWl1qq9nasH5Nu/MD1lxQTXnoA0C5JvXneMZB+5JcncQ/Sm15N/FvyMZ8CUMai9lC2WYJ8AVF/ZkQa1801Fpj0+tJyz6juCSZNY3Y5mCArEpQ/M+kmcar1ClpuO2cgK2pjTzgfy0VnIUMx3PKlElTr7aeVJL/0HI4IFP+dlqUUyaZYGOfOjW108rLMrelAp1Yf+StBKDHomrWXjkbAJ4kZlsxICJ6crQK9mXb01NmheN1daUHKwqXpKyM7A2ohBhCNXacjnP7rFEFw3cQdPsnj1BCaIeitYDm122pjPAfBtQGIpF3dUdmAE5MVAGAg=="/>
  <p:tag name="MEKKOXMLTAGS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BAINBULLETS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jqLMMMTprJfiFfMfF2PNjqv17fihSZHpStDl/JOAZ2wI38pPu1UA/lNs5A7hPV4jh4Ks9EDSos8em7nPrAzkRqlrHalOq0JSP2eSTIURa7LkwmscfGnojZbWptcp1mRPlCLflta9CJtRcgk4WCnsFOpw3iSn0iqWWVnRJoASL5I0z7Al/YdCj1NDPz9H70dFT7dN722Fmicmg6oTNCCEPyaamRozw1IsD5cKAf3YgDI2+bzHOsZ8TMuomlyIjp8X9aQziRaP6pycIhjIRR7q2eQ5hCOX2NZ79r+UJfZQMQXEqga2ge8mWjh1/9HyVVLnybiOM6CjmoNP+5zRTDj5UiVwZs5R//SgZUKP9wYrtRbIFs4/jQOtirPKZqky2vp67FqIIwaT0YmejBzOxd0gf9hwNDuaphHotwWFcx1gYwaA0unwitOc/MWIEEzwPmb8HoUAt2J6/TEcxZRV3Z1M976uh4Itu+53xGkPk1+5+9Wo40Ey/FLyfNbu1UkpSnEzDJpkr8837cbRh5xxFCpZECSJmY53w4TmvYkosCSVBIN6E+hKNdIzvR2qZbPETrWsbFiXIrHEMVwObJtfGAPb7sPT+Jv1awgbxh5dDjve+E/JYQR8hPCqwy/MVCpah5DSauin1N9lhYqK2gQdCq3V/eJ8OqJMiR7E3w27sxAoH7CZFA+WyiyQDOSjtfCw0NbCVPjxZeXzreN3W+SSHsegVqBraQ6JF/HpT1KfHPfGlIsv0SNyi9lJCDuaGQ2Zq9d4LWIrazEThFLjtyDvJar4DKc4Pmj4JnnhzwHyU2rrucNtsmi2AokoNAZTc0MnNcY9nDlrYPxZx4Je3KwsDpEObDgwzoHIjeyrprwS5gxL/xd6ETat0e61IT8Zre4hD7jZ0AxlId1H17Kv1DA/37BvcXjRBuDZKHnXGtOeJDmOgyb3U+KWZC5MmHMKLK+fA148jslmOOlneNx0cNlGDgZVHni8eqzcwW+RsqPlw5fMWZryZ3YdIc8faxqB1tVTstxGUepO5GKp9mrYQynmB4NhqLKdl5PNA4pmbsU1fSPg/+MYO+XmQe5rmDFLfyMJjOfYQcGAL6uFvT1PQAhe73B5lM8Zgr/ZbhxLW+spy3a4wQvI89E8iQ7bn5RU1kF7i8xWrWPYPWGd4vNLT4mRPV8TbSPecTSMAnjhw54TCf5q+fWLLJ7IJrSnSJ/vuqC2y3dOzPuvqAFwHHOosjKYOjb9BfSoERrhGPeejt0x80AJnIQfJOKRr3GHzK8TWF3cfuO1THuYsAcmsSjm8xrCrcS3mj+Yq24SL/1m2LYutwOz8trokchf4YHt8OkUjVm8J8/FLBhmyRkayGlbUZ2jcJXgc1dD9EEbQGqElXznn4nxBpYU9BJ1drBMZU9vb/zIPMuL89xeTxGmeHiO7Dnb9yitTJXHyycr0xS0vBYJ5UtxH2ZQE1b5djG59bww+hHDBfXGdM9J7ty/J21zWY27rrNBy6PF0j16uoxR/R24q2JB7AoqeBpq3TVu8dRVIM/QRdYCfEXrDhgFgl9Ie29jt8zeCeQPjbz9pLZcnjSuLOqqwagpzTqPT3hCPHLf+PjB0aG19GyL5n4MgX680j2J/85oh+5ZcUieJscR4OzRYPVlGPvFGYJ1bmNI+FOZRqrpfl3m6UYw0AllSbnq3tnzo7gmq5ywQ0NFwOdXOrvhMcxemOMau6AZ6xOHPyp6eEWZFzroCz2k4mdGNwGlEPJdCcF7Emtw0Ec1vAPrWD2LIH+w4GqVJ4H3k0hiK7auD5ZSTRZ8n1dUtrf6Cp2aQBmz8BaR/sJnrBpYwHcA3/8N4+8ArtDsCZDiz0/9zKoPX/snkK48tSp2l9FLls3LX71tiwvtrY8SV2P5phuDdL3KrtN0eoXdwz62zUOgsp/1DWgAUuYytfSsv6ZgFMJXmbhsFVDHwQNU73KqrKmdzbok9ULn1Mnk9bSX7Zy+mmsFB2w73FKvxjJxiznECgQCS3nkL0R3DuzaCSIyd7B2IRfFjAnGTrd416sN4rTIR0mRc+O3QB55mYeM1Wjy/cwGGJ6G9CCfQSm2PwktrcC4fKKcp7RSaRNAo+gsLT/h2M7pNF9+FXEEcL4MXc/leZ/IgZp1+cS4fXiBp2gG6/ff8m5/H5xsu+I7thjQTkobONTqMuKP3UTEfnZQJ0bQQfIOvDYMD3jqoTJp4fGAoz2PIXyqH96BCwCiqoSMV05HiNpG3MWcBWUTlf9Obs/qqAaUD+AHMua7sDXaRjbYkmVog/EtpomZnzceXOKiCQ5m7xi4jYOQUYux7UeXA02BqirkgP6YK3CqgcHYfPiwgD6sdj5dZucWc0m+/gKEcqZB8uPGBrnrvLi6JadWEntrvsOzKXnbDllHjb46DOqRQiu180kqKc7rxCwPw5WpCPOnzULjnCJSYIHa413s8lhgiF0xeGrtYZ/6WEhslc8Cnk3nQGGb2Kp8YERHkUd5dS8vEZReh9F+MqOkHo6saDgzGGW2wcy+dJO7kGO6Whb/TU8V8ggBJptvnqYekq/NQUxKU4Cox2pDl9evweuPR3nqpNc+/yUFCVoPGCifwr+u5wZALADS/Bt0dt9qlo3ow2rxMrcJbG5os4LVNaUC5PbpVASaNQS6AR+HoGAA/TIxaPMzUgeAEbdFwal7XnW4W8a51oicfaEhEoSRXXk9//v7vRhiD91tQEnAqEobpCKWXW90dhsDciYgsRt7/3E4szsBhbKl2/4lBW5tFRxVXpl84YAJ2JIatLIIkbyENbG92b6windWbtL/DHBnTWNWk8rCmCZm5C9ETz12hb72PoNIdzh8bjhf8sSifto0DsPoxkJkm/hm46UiSbYMbbxiTJpoM1grPRDIBB6NKFdgZwemCkCt5DIkgzV3qZzr/diRi2ZWTOC1SGXN13zcjlLIXoOpe/VnAiT5C26ZM5/FzmRiOdCV0XxR9VTMyUoy50yGLwipFX/kn+lq2PqD41LlQEL3wD81NwGpKGhROrGdSqiVqemIwILTsvpAaN4arcBTDkLFdEl7XtyHRO0uukbxkq51F8KWYmZaQdCXAr5QH2M0oVCcD3TfXs3D3fF1+cFI1Ytfo6WzuHTsCzka3tDcD2rJyeb5Rsb1XsG92mH7rKHvZcPpIjbkqDotGs5UFl2aOKbepA1mKIFzS+WDKnk8A+cgh9uGHDCsLcRD6lKSyiin6je+9sC/I8tPcLdj4VgS+x7eGlQBPzbOyoRrnI1rCm2cMXIk3hMSRu2IkAUDVE57oa/OpT7WXQpMmxTVBDFYVNaYmvSDXGOcNbmDA39YodyQF6rLn4fG7XGtZkWx24CDDKvPqrxGpIy4Sx4YV+P/Na8YRdhvLleGmDP6ujh98v7m4XKp6lSE70NS0Gm6BDYN26L7bK+RKu2AfvrOrlDkh0TDSdMG/c+ClWyzz5iGmnCADppcTIjl69HD7Wg/p5TvKrFCBPnL6O/XSoEc7qLvXSQVK/UnX2AKVIHl/XeehzOJPBD4SB19INxjJIE/ZFiPvqTQNQqJon0mWCY0mzfFKdUr5MBfeVZllNxtq53USFsoNBbmLb2RFuqehO0D7KzIhHqKqZdkVNoV8N0QlK5IJy9l/TJ/ALB4fwvJl4WU1H1J1h85rsqHamg5mUkNr3hVjwh+P3mIJZtRCZsE4ZIm/ZsdrSn2TSKnYbozfxtxZPITbnHrDi6d8TP/jjt430NnjpYEYndskEDqK6xDmKym0VA4lgVr2q2c5299YgFWSv4SA8hnY/tZ0XuTRqUXDloVPMvJU1Ri/XmaEut+6FXB2O94DHZeFkI2VOTMQvulMsIoasZmEcI+PqIi2duMkcy1HhCRyEcbm0IuaHXVUpPZ5+oQFXUgYrc8d0TZ9pXzjcvvf86uL9nWR1uYIkuFEK5vm7qcNYNXgR/eSJkqCQfTQ920FDOnClNWCnBta2aLR2pl4AY7YhZE2CQBw1c4yPYG638omCjLUK6xfRyhDDtvYpPuZSuPu1qMSFeqo0qXrSq5mu895fFh4zSPFzETNwWinSBA0fQYbUSMXf3+jUttUGz9cWsRdQmgHFIXi8abD9HIcseCPmvF4o0j+cvSunHO1lHKU/5RW3hF1SWIZLrq4fbY18ESkWDSLPsZ1ezJ1VUJfntKMUKPJB4wftZzjpQ0TjU+YgWZUi1TAPp9sNQGXvPV7S7XnsdE3U93E1A7fm2PwMTSqYyfRXBFF/w1Fxndbe562YY+753p+/+roQAmzp9wa0YAV1bd2InKjf3clIC2WXsMS7e6rz4v8CxRC2qMei+bivvEOe/1rSLOsnS7zomSP1YNSNA4SDaUZwScY5N/JL2iJTrKvUc8qilQ93fiihRMmt7iVnVG1/GGVRj1p0ysEkDObYZCoQLlWMEJyS37L8hiZeh99EGNkH6Ph+3icVneDkImO0FINNzQ7H/OaGguOf9a/aE9VgP7xVFeR7SCuMgNxtxVViiKvTwEPdQDVEM5IAaHkEBUliF+JPiyYiccNfSC2kqEiBEJb5zbI4KvvOmiTBx0R+doSWFXSXC89Q/jhGsr+jxGMUdaKg3shKb5Et3bnHbevKZIEUqcb3rB2CNFUOLx0dQUZyJOPtbaSPlrcU4IXIZk9YEJed4rZljelg59cWCu5R4TSghHs1eMh+eEeW2QEJcQG/IIllTPnESioWYAlZKuG+uWHyuuqHcxn535XObIl4LLfWoNHmfVeJDaNwWFQzUehRxM57xAej7rl0/oXNfRt6ni90Q8Q2NKi0oXLcYjKTwl3Kync/i924xVWz2cPX556BP9R5Vso2jXlVP+ABA3DMbvDPJQa/zlAHZnNHBMVKtoNXvkyrvHPrF/fScBGIKIt+IGfG0Sr7BKjxBWchY3EKdGNHFmN9sMBuOAfdNCfN+Z+W98aEO7alxPLBrW9hXWYE65FP4Iojq4VdaRIoc8Cg0z0N5i7gndvg+wbbdDJWmLjTRJoTOhqc2nR/0MWqK1kXM/eCpSd2+UZA+joCMZI8Qvmqe5pwtG7ZR5BE3j408JBuJnbDZxFY8p1T2yrfLgYr9vxlyNeO2swYRnkdhodJRPirzWoKsm0GNANxNMnPFPSLPdr6mmAoVBSCmpEOnY8znm1D+mJWUnR0L9xBdrqMraXAchfI7uTAao67wYyDl9147QhtCZ5RhIvoZT03+eGTQmem1diXa7pcxBd27Dmq+YmhqOvNOe8NDy1Qo7PeFXeJvOUJ3qnfsb3Qifqvhh8g2Q3E0F2QRDa15XMEE7wyX4Myqk7NqQBFfnlkgyImqMhz21RcOhznYSMJiRbwbuhfgobNLdkLhqR5Xe4rUEa9VA/D7lsIFt7VuSiMDyHnDKVax1kEHrf4/vx84JlywFvds48nhpG2nGbSDzB5BGfxzL2IcAFxBg8ahQYcuzw4ePV5BfNJe4MeO/ucagJIsukqa/J11m7HwvDUou3pv+sZ+ow3Qp89ugNZaA3fBWrxmj4zqPRc2XJZ97ZvoLtB3Xg4FYukf/f6PGxxsFwYjTkmKCTpGSJDJLxmi1/zx/G7IkkFF1G6T/HBl9P+Vg4RQF345bEGJDCTBYTk+ER+fEK4yQu9IwayflpSdwOZ0t5Sj06Ui0vAG9tgNHfPkChs09UHvwk6si5KgDVrvE1o69OopseNDHskGBsDwOZddJuuAXQ88HKWoh1N6OL/eWIVhz8m2I/NUJ9OnZ5GWHnzoy9Pgr4tQ2K5C/1EP+B43989o8OPQU/CP2mkQXf2dV681pi6SNO5YLuCZDmjI04XKffZGNWIQflAqBxGxO5CKUoKu/2owh/yGQFXpKpauad/hO+FhwhL/QW4apD/vG1hRacWxkb/W3scLlMXdnWLGqMlsTwDLRsnSCvzAs2bcAlDs0/BGCyROqTqnUTz1rxUUL45W1cPP9UQa9KG5ikTcBxMTNzlKinhEXR7kOxcceu3OQNMCJL/rn7+iwcFdjdW15vJUEddI1VCmnETWxGSGeCgKlFRuyEibyULTX8KI+JvLTXvjfitGqTbnd/b4dCdMZGkxBYuoqtcW0c47ZZf7q83MRofAYo/RqMjB2JnOAsNPOznnlXUaOBtr2iwQ1uZQj3xCi6WoS53lOB/00afgBFH7mStCyy58kwgrw9fiQc4r/vORGSLx6giz0OECqHz7lTVM5Ty0RKR9xva7mAi2pxsUMoax4BCYAqacewowK2i7TucUieiN6ke21Pizuqt10gNUdE8yDVgcrUl9ay6gqnJGfkdj/CCaClMNBZZrYxQigdjN0xGbqujtrWHFJnDLYrh8tLJ69B9LUjXhJssybUoLWRdL/2Hvk4VekXhEGbowERty4RUIBmvdGzW/XZb7/cQPrxL0ftIUbDo/P60MNQP/KhLmsFOBMGNKzOqALbjJm4J0XAa+QdU/w10vJTPhMyrJKQIg3CgbSmWdlHy9wmx8OCEWr5JQWvsFdHp6c7mz+hrqCx0bDkMupf431m0TBoHozNGB74Tmy+5NOOikE8ppC5HSQqHhUvcDEelm39YuQAM7dUWTmscFRGPmXqs/SoxavLRr/RPRf9eaCwDY+j0bQC3IodlFcRiUSUup1AIWBhZtlYbWpvH9CkaTE2xRfDnZBRlpY/AJdGI4Nu8n9ZUBVtQVFV3V7/mdjdOU+JdAM2IQIPRUFG3qf0IcOpiG3eo7+XEbWFqi1et2J7yvTs/z9kCK+JA0PRBRg1alYBmGsUqH+5XhztmBepwnVn+9Rf2dLmrLEvUR9ngrS6BTcnLXbxKj6D75Uh+uq7khg8fUBXIVjYL5LyK04h1SuRRKn7qpV/ifDmg70Tqb//HpDUIRhrHgFTFjUpZ6nu95eDECB+0jCoyclqz1jD3L5mI/opFBP0E2gAjmk0u6UV3i8/7YS4nMkNUJKIipup0l+ZpsYoOhaJ2tT6KpZNXRo9UyfigClrKPpqCRzfW07X6Nbz9JrjdZp4WfYZtOZInxvuyevF3euN5Jpdtea3K8yrPBM6qCLvRFJZSNdkJbedgeLpud6l9esh65VedKyjAVKTaj/iZhGMCnQfRhRRI/Q3j8bwQb+S/CXkz3CLJn+HvAC0f46NlyGbE1oVluMKykB+mDC+dpSglHrIjV9wsM8YfIVVwjb3ic8aO6I2VP0qf/ebvdt5gsVIQVY8nwIRmQbrs8jsPZg9AlM7zSGsEKg1Z5Be8DnIkVWWOtG2Cd9jUp1S6VG9tGSkoFq3REyfLRbj/T6+0NrXkyashda5WWRTvakxoA5UOxkxS1qZase13tCxWWfVp1YnhIZPScBicxQRIjdFtwzxFBWH53R6XklHCQQiuf/HtDkmboNk0ifD5e48NFIjcimSHhD1DW+YLCQy2ihknTo9GWujQn16bOSP5nuf08Dr+77ItKNtnaZagXsxM5vV0mm23zgHkWQAw2nyAeuxMWE23raeeAf5R8PGKed450kuqmtpkfdDOn/WVj0mboZsXdj93OUjy3dGKFY1j0///lXTFL+BWMTBoYmsNorpZW1n7j4TjwsyCEkQbtxpyyTPBx+ANWvtGce8Pgoz5GGC3+xeB46ksvcdsTAeB9JwmUB5JzuZqOwSGnILfEhfaOo+Spv+mXmnDitK7SjkuhxZlLvBNUS5zrn9FPojRnhD4jlM9zwkMwBa8LVskr7h9VsUzk9Om10Q9dxJFcKJRLHFGp9MfOMpkQVluKcT5tcpf7ZbC4YKhdQLkR/FlWc76/63BYTtXOuLBXD24L+GsvUhA2SByCBrzcuPrWVzq6uHjZ6dTYw6XwdBLxLPv1JeMZA3Hk1YqMMdvN1xb+HtirbSGXS9Tb5smmzwXSh1v8nj8TLPuHrPAEQW05z5MZd59LVXt6Z0Fws0IkETKR7oMa+QHZwQmQwfrwdTKD6400ZaltAfglaJ0G/zncRyQwAeaM4k2+XALLZu7PP0SN8F7IBsgkD1ePIIyHkmSg1VT7QfYyCk0uB2+A1nc2STF8tZqi0arsCxElKCsepY5YGjsJEkUMnHxt5Utaw3+KCXvJku0UC6D8wDIhLGXaebG0UZ/drLEgTWsY9G29PhF6nGae2syPlTMVwtDqRAiTm4IO5LOCWYTChbSWc4uW2929sHm1dLPN1TZqoAUvrvLdzoumyU6u3MOBdf+XLYXnk+tjPFWXRBbPfWrvqS+yZTSAT575vLC0n9lSFp+O/HDwzLExlz893aUg2JjWL6inFI+pD4C738hbU5h3Q9cBLEGidgoa+nyml0P2JJuQigGjYAycl/YxRN0YKWTmIkuqps0LK8+LWZbddSaDBiamQzBtEilu8n9HPBU8KDQoJU38egG228x1vXVI06Ih9VCv9beKiqYoh+7RcxHa6XkCb5ZIOoVEXJCGF1gVGmf2tBv7y8KA0rPu4Dr7KKGZ+WSstK8rMkJqjLuZjXVGfkcnedLlClmv5J6Gn9V85NEANb9noXXE9cpZeQAFJzCHGETDixU02BzsJ9qPzCgCkKxKiHJAK19+YJ3qxcu94URgDhRJ8LabR9gVfu6GuMlXdv7KKL7qmAX2xz36ngHocQR1Jj7oiHOHaTlnR4kIOQqvehT0E5QE7CUYkq5keTYErp9/XWrrZEtsdfMy3UTn3EAvtVdhHq90h99+QGCKTBYMEXj1b8tUriG8q5+o/D7/W7LHzrjGF1R7J2ppIqsg3bkoJGfFBgbGSu4Bl9lIwPJQEyOI8dZ6WHJE98mFgKqkCAhdMJMjkPzPgdpE9wzya0fpKPJYJaq3P+Bh88gw64WnUUYpCJLnbhfPuCadrxvBMooGPVexUOQrRglQYWyedt93U5sQW7C2tdKJMdX0AjQpfzGn5is1MU1s/hlJfrcd6c5crngjex0nhOwlOxbX8klO0a6VYL9AtKaM0qqq1mHKhDHrDPoo4qs4TmD1pBSxRYchUlduajcKmiotDxShNzfnagYbjvtyM60tWcNfulNHSY1VvEuwT6sIHSHEDbyM7syiCQJWMW2sr/JstFXb8wFBzLglLqEaxNQ2w2S3HR8F0McyFbcXyaRUBgoxI1hrU4Cb4WQtXR9TnM6AloBs814Xqmb2Fd3DnwiF3O3p05j14X3x7FUHUHzlg+PyE5Ma8vnJN3jR+iA6KymNUxkxp1/OmDtd1J0B8NSpcCENnt9ioKc0lN1IFIvphdS1kJwyjQaEilMqNwwwkFfTyTAk2RBFrm8PKkIn11xOLa9WXihOQd+9kmQeNwKwT3/gyq3s7l3Ba/1BBNsjlWsPfHsUY5UO3sQts9Ui988v1Fdju5cr+p5k+e23AvW3Z9yF9dES2W5uhBI53qssT6DmETIY8uxlQZHI+dWTGkEOlJg6EvO0RY6SA3sZGWPlfVQOdzmSAoUTuwsJvQxYhILh3KnaRjyHrMhHaPySEt1SsFGtqWzMykNXrlT6HeMCkQu+9lwoUMg8PDEsuEmUh7arhm3zgQxtZ15NWApz81KbTnzyrtSqLmRXILcfJxu2tjxNc6Jh/Ge4/C3gI0eynbQLVYc9WoftNUO1emS5AfpggyU831kOuKeRr0fJgL/uU8YT2vAlRAEZebuZAFCVv5X9U1RntNb7unGEhu3nMnzoOGoGCaXmyv3RQ4SmRXd3DxfRPH4OjOfatAzADC8whQMSfoXtSGwoRSzWszOA2PFIDoLALKk5Hd3Sp+y4jFI1aV+v+4FNqQC63biqAKGS01DGuRbCsr/Qwpno+Wa/vrkX97lPD9blzbJwmV7vlbobLTL67W7y+J6cPWrFxfybgs6IbrwxG6UgkZBsNRrKEynoo92Q6l+t7bfp9o54n4PkJeT3t9snR5wYax6+OFC0R1PtEe7aXz90qzaVdpAEbi37ysNK/0Hn5LtiWSz08rvSD5r9+cKIgEZTJR/aaf0El4pA1MX+/bT8uuZuj+0Q8WosXT7jj2g09Q11J6K6f81ucsFI/qM35rn4sI3nYSoMezNe5xc8yXhCqrr1HjdxZbDyAh5vDqIEWX4rExnqeeqPSFrz+hSTbAlpsOoAorYFvWbYlY/8Obo643Usg3n0FCSpRGp+Pxu1C/aBkVuABUBXTJS65Uuj4jRuZOXaXDMJ3FWZClhv0vv71H0ShBrpdt5vTkL1hwsbYjEJ9aFcox6rNC6+qVWmXPwVmsdLcCb3BYT4cbdZ/9CuVh8zNTCJHxem5OLBEbC3+gYneSQyytzxNjBOF23Cbao4tK/1GdrAk/Hr5NDNYFvv26vpIu1Cu/MpdXIrj8UtDFBZxpE2ygEtCWyNSx5aYmSsEoSk1ajPLSQ024inNHCfdGRTbjwFVjLfO1KkhfyGU92e6oxFhIuMBQ1qE3rZYO7IW5qP0MOn2YHW+39ruHP6EYlK1IKStGblOZSYLc9yL+k5/rKcNrnM8djd8i9UoHt2dTSSxE8bh7ZYFoAW01XUiUY8+LSfhYfWW6iwW6sOZbOTNAFStwYjMboba0CUPgc0Ou4crjHYxAu1+gyOW7tvhx+jWK0CoOfCpnvXFXczvKGV3NaXmMC0YHHKWNCjnPQkvswklbPdP3GeD7eFk8lVgmKyo9PEBH0RL2qp7g+P/c/TO429fJckvMo9axrLOeAo0uKT8e9zsrx2hVCQgCo1Dmf17+9QXUWT+xldtCmtk7bvj5wCdHvaWtDksAb/HV2Ch7L/ABGd88YwetHUoO7kEMff/vxBqMVaxMUFbiQw8BHyGVEZVkVCX9TqosREt3pw6N1/VNMkplIP9cmulRcFb1DCFFx1gdJ0rHV8pBiWYygjZM4Y5OyNNqMojpt4aDMWHapQt14QqMTbPU8OWlS+AohWoTdo9BGJbLaa8LqhXrL6blsMAH21zjFj0uByVLYg3nnhbo0GY1OlL5BZ/QYbkpaaCC4o26d2jdrqOyQdSoVvT767lzKUM1MElYoHg2SwxS7FEEylSd645TnbQwxdgY4k7uicQKwd+kLpZVF2QadbUaObdJpEK5y5tVj68+qS3A19Vj4MVKbkAIkd2r4iYdHypeAHcBYfhzgNMVi2uihn307Vo7uv68LXnJVfCyFTFR44aeNngRIgg696FlXy73ZXyAL1doyvVGoThFQVsTuH8xz7vRWXE2Fc9tHrBtRjBqMfuGfesh4jowPOz1KS7XOfxmGQdJHFb63sg+KOkDKJAJda4wR4YQX5W5cEVfHCdJ1Td20+d+tKd9iXOR6t7yxSUcaIz0qUYI3yMVlwa95dkHk5KXTVZT0DkpNCDpdBoayNVlbJ1+FT1ilV72NsdhEulT6G6RlsuEVOKi6agJmbRZOy2hLDgINQszJ7NKXo4ZCNLADaHu72spOTHNHstildjq8b/ngXvl1MJFCQJk+NEUe7qotC2WGFttbwyUbt4VXxDQZatxt5+XZQtwwTaQ8iRl/RGMPJVR08V5JeRsqYrYv5zdVff+yLfc+Grgve5EdYynchTce3aUkKSwpK+YD5VqVv1IQltaYwrf9Ej9SSh+pZ2ksoD1UHik3KT2Gg8XTknP9QzyNTDsvWeiPFriHm9QiXxNKBvnrHT2poxDYlZnpCRdcm7sdR4Yyz6C8IBIbk5aVPqJiGyZI4teNbKjJ2BJCk9SaBklGzp/R9eSWlgKctH37//Gq6jU171p0ObukYLUAPogFoY5+DN8TC3CEDSGFDTU6RVo/f1CuCEnOun5PjZHL3G1M8BjiJaZlCOIY4cVYCvlqSIHHI6HF0M8fnxM/DNyquSwg37fREoEp6St9RWMVbMCOid4eXjb17qwtB+7mP1lFHzCCg4/1jNSLsmEEi0m8RWnMaDqwmTuqKSICFs0dMO7PFAR1BXwymL2nsFm0jLo2cizF5DQVkNWXPeYI1LepZgSx+uTMXvsaWN8xUy1PY45PZ9BLIYSzhUaeBSdoyJt4JgGSc2wS/51xqbWWmLVZVv3duKPS+RsKqcapY7TVW1NBsG6umYDAIw8k+x80ZqeLlVbLKdhmWrxIxP67VijhJ51s1QZlNXQr7mkWpTjgtKYUzWCH/2iGBZxZ0W0qj2xa0kn1df8SFaMskX4yrMcB3YwaVjwrXoLnskp11A6Vit0lPjLhLq1MJyJIEX9R7q/82escUSaHBypG/+zXHX3xxvwDHI9ss49GphU9p+lao46C4r77xb0WU2qG/c/+lXiD84DOURwa/SPgH0/6jN2nIPmeIIfEj9MTj86ugUSBOcXY1BBEOxvbRgdX8pOG4hdbDZXCt4khwFK/m7M/b3eXFu8mhe8nSj2llJ+FJk/Ieq+gsYjR60JxAeoqww/33pP6UqJLRgql/ej6m+7LmrmTkhCXTIDI5XlMWr/wwLxUK50moTW7j3IBH0hdDP1hGBS8pEUa3bg6wdiugLTrt/VaJIW06juBbT3GwV76+BonpVCNNfMaww5ZuTn6EiWUht7d7oykBZ6C9pIRnb7HUt+CUrqV6QElQ6l0m4v0rKlEiqf7M6FzjslCLmNwDwCHawUupMxErDaED6ekppszutSsYy3o/RgbCwPsCC3YzSjxVD3Ysn7m9aWUz2Ne/iNOu5Rsgug3EoZ4FuOJkF9I2U/BGS8hMis7Ec/VAXtI7X8JG3pJtYw3/xsuO5uu9osxCqWnL0n5D7t7GQNXDgx5FrSE6GGA63PCGCP+H0NO1uY0joE3FK3AX0m1laf7yR+1mcAVagkTZ+FZeBzgypRHD3jQGNUO4mYWC3Xxi04T4NLTq97NkVonbAP+7P+1w8Q3seKpC38KoAXbQ84Bb+cJUjtHfta9nEahK5smSaAFlwJ8F23HwT6tmMqUXZEiQmbuJCiNVpvXLvqspPaMCJ2JtumW55tLItV3fjUPIXjwptAKG7ap9fZK/JBBO3ukg73flnrBlA4+9T4L597luHVpw4+fnV86PJ5n9TcFqRCi9CLUQ64JsuGdejUAtWrxDfX7c82QejCW+uWTdhbaNRpKhAFYH9Kk2zcZJrq5YaCYWyjbii0lRyze3+2NfVDjgnz6wG/aD+c3X/LyLOLLvKkbeNjTDajQzAOOLFfi1EE9pMt1Y2qFlKVme0Jde7EoPmRByxqoSFcW8JCEm/BFDvTFjtdTUwGw5gCgGE0jtBnn+M0o1aeqau1uyjF6OqnXw73AKIlx2GyGY8t+bKE6T22tNWVhPCnnCwLz/bt4hozBlblm2hMhv4WWGWj/Hg/FLxGJAtndmXWUgaS37Ac5SS5i/4JAm0Xqkn97EQZssYIZgwvQvPX/YQaUKyqNWc5Z0VmAfhwraZbzGgh93HZ4VgGpGLNuRiVQODL4k1XIfZaQ5Y2MgOLLGRk+tcRFVNCk4c/C132370e7Geoy/6HH4Y8mEx1XbGdZCRuLbNcVJapL2bD7qUqQXpU0i7XOY5qkpGbZgRsf8X3hYgg4Djg6UueRjipVLbs9hrtVswpdvqnoSL2Cu6QUShddcvfOFOIgsb/W4gLGSmtsKHNqlWKDhfregrmEwf2DNp6rTvh4/n/HmI0xAvELAY1q1c4X7yvx9i+A/NfYq4haRmtAsYpoieUMHTPsc6SXvoHY3JQ7QZTxbEq7m6Z/84gnbN5fMryyVQ2X2nFxge6nUfevRnrKZy49g7Y2xPdjW7n8OKKBM+fMicpRfjRhkRfFTaYM+Ed/LGx/jy3ChwWSSzsPYm+K8gh82EqZ5HJ2WkTag5DBWKkqrdtL84xfg8LpWPh7r7MZKkCi5F60ZvRR3QtmUUfTa7KRZKntUK6/kiHf6c8uJPvivuPtMDzr7eNmNsG/d1O6mCpeca3DwJP4dfdz290mG2d9LO0o78d9ArBi2j3FF8HpzEJJhihypGq7OPOmQV49XSQvJ64UO8e0w8T2fqX5foWzj4Z+SH8tKzhtQDMk6vilNxNNiAMH+9JgeJWd02WG8rWqsCd+gTOwwPpx0JOL9TRktt2afDtG/T+5T9o6pxiVdqwQ/+rZ2VM3hoCdbVRfW4Mh8xLLQHza3XdX3Y1/JopWeWrHr6XhXIFwBJXg5Vkf6EoeFTrLf7xqKYP0+xod4JbQ7mjtm79ENMCBk+xZYQNcRuxb4MJKuUz474wEwyrCCx80qLWMjqnAkCQwTG9i97GWFQS3gq7XhKYXBxb4/4oNQUY7ipnwzGx+TEtroVfOcmdxcTem9SGfMDV6vWFfJ6ruLXaJ435nNgCp2gX+okPED+RTPW5wcnuj0pZ46FTyZVMi+LLIp49KJMAp41ymOMCe/c2gKWqOOfxdYisM/BimXq6cGej8g9bvBRH2KuXBa15kUCbgf5GydiTsW59frh4ToIfqBkK/j5zTCc/8U/jULxS4iZAkd3FoLgvxriMselKaBTaS4uzUsOq0rInjILoIQcAIMXV67LxCXpYKRWFohO0C3DpxUJ5aU0uMPGavXYpmgNGlvgTQqcYzemNlqZH9TS038HzGvxg9AWULKLmSDTdDiDnui9qg5piTX/FJAcYaIW3A4//bV2S1OnUcm0MFI48aeEAqswCvJg+hidOAF0Idm5N1yfIM5Z2Fd9Fym7dDLzjBGppd1az1vqyi76/8SKm+UZknOMKKtNP6Em1dKFP9MefxNdo4IXd86Hy7bv4RFHQL+Gn3JlDvLHbYtFHNYBd6Lbb63uxMrcueuQYKU94O8vojjEGBep7/dGo2x++9sZ6M3Qj0dkGWYcgmw5a1K+lHSwOZm5hJ/cWeSSkjixeuLkVA3m3El3Rh2M4onSulFGaMS1Oa/rr0yr0m6tVnVzvjuaJoGw3Uk8K/yqKlr0hulle3Z44tOtwCJyuY0bx1UC+PfkJ8C5FUCho9933rGz3sEdohLxYgncCawM59VWooxyXDMlFh7RC0f3g6eALqzMnfypuR45kTTHUvxRuHyNRsmSmObVwx4kD++8IBt1mvKvkkctdv7Z0mBb4bq7dzPy2TCX4xzsZavqcIjyx1dMS4+beYo/0UrFNoexwaVMCizSi1qvrvbdFrGOy22eJtglq6g138xQNp4l0MjljN1JwYS77cJlHFOgNG4u+GN14MSXm/THqgE5h1NYiqif4a40sZ0yvI6Y0DU8Jx6RFAS73Yvy3y679McgdbUtfIE6DGgDAUlS4NFG++9UGgsAlIgegv4AYTivqNSi0fsIaYHE9X33zHtmxia/5kBgzmQBDtCvvoJvPRk0NL0FgVZwq77zcdj3aqbo4Vst3bVNbJEDE01RjkcBT8JmKSVJnb5U6GLaANGWvwBcm1stNKkcauerz4/t5jcMT7/zySTQ+87LKHfepnWUdAndv1N9otBnI1SFRiL8MlgbtcOKSb0Gfy2g7bWB4r3v6IE71nFwncbnoYxibkC6/ssrBj86hRZZ+IAHbpEdfjSEQWa/+roCewSpX5GJlI3nnp7/KVox1+oXMehWJMap/MLCMSLsnh+PCqckvcc2ahZcKIue24F8jKQ0xee1bVe0Ily31+AXClP44KhEf/2BqB9+tzfQCdas1wywrFOdLLhLtVMuIicevEDJxQp98qvTrpUmarHpFA+YPnShKlxNCCaLiuQSQUwKePtNYsQD7GSfIfE/Hri3iNdmcYOfODGB4ZPDHjR7EnzX30JJuEUeaavMVI8PSjSLv0YpIjonlkOvDz1AGRd2HUjka8GVhFLOIh6Tuygocrh7jGgrP7TE2dFe/3ekq9FRXgu1rtPEAi937Nld54Jl2Va3U+ZLQeHp7XK+ISjCxRroPNLXQR0FGNoGKVuwy9+rJi/s16hBdBt/kMtt51EmJZZH/o2/2YoeEp2AGYli9T4aDQr6lSOyD/pPzkMFbPGOMWfL2hAUiJb7q7hvf/hkr0qWPEFxqUYZM74d41GUZSR7tgtH8+AXfscMweLbIk9BN8cgdli2GHBKdi0uv7RQMpAWrkbTyfJaMx205vzoybg7H/JUoO0z6I7gwdL88Z4l6GGRxq+vBqpSgnNYgF1nxna39CZl00ahIm2WCqH0xjwJZwfi+PowPrjsx/JdVFf4WPxD4aptm/a9lEAUUwL7d25wWFFfMzP/HDST2P3l4Xxp9n6h/7KDObGd/Bu2UmurXwipuIbn6r0LayucU4h4VM8bl/MN2+3XMk/tkeI37hwE5pfdtCWprG+iK+4Xp3wsu7bVx8FKtrOMIRzAUoOZmPQ7PNWBmBihA+EXt7GEO7yO+zh+Hj+q5904LmV8DgvgyjmB2LKcdXwr8dOS5T3IvcMv6d2Mn21Mx0KAvroWVg8ntJ/VtUPdJpI2fLnoD8g6KPLtWmaxQG1Vlso12CUPC9GpyhiLo7mC2FUEWQysfpRckndldsilYndtm+lDfOCyuneYuFDIXl4rU6wQEV/OLwjl1DGe5fhHw2Dy0e4Rng6aeDedfS7NaYwBKMpkKWwJYBe53tNRCtFobsBIXbZhItNoluQChHAYqgOKRWzqY4qqm3jEp5+zRgq/rgMhSf3Cncv5PMbxQsKRd1GIUnuNnGoYLpyEyNBpRsdA35LnvxpLWTHLHCfGz+5OPeSWfziiNwLOlLCnuKCUbjAWP0DV6E5QPmflHjHjZol2KUZ8JfiAGN3+EHuRCSx+Z+Dxe43+PUVmhdEZqkeFmAvqb0DthQw+4gAGJ7awvmnXSPMgwIgz0mW+MMmmH806JWWjlZOizbJkmCJRi+gsNk3x40q3BZaVHC46QEEARFV5XdE6wYIGP+Kgno6XmYsWqO3Q6b/I7ZVqik6sMOJC2hcf58QTkc8eBJ53M+uO+FF2iiSy2TnaSDyFobh+NEPDL7Ay2JwZFeSIIXGpCrR56Gbq1L0xNZzSOomxftWZoJYXYoPy6XV4j2kWr4B0Pet3o0LizargUGuw/vt4iTzKVnuzi+ojyf3dLsS+t5vJvXOtDVK7WBrneWmzc+LIg6vveALORJPCDzEftRloC1+Z3SIvUtUU9bkcPS4soC7Eha4QEkxy2m7SXTwoiaxy3sw5xSY0LBhPpzUdJR8Zc0d4odYkGcTai2qvW4k773XxpZH/WXgpLmdM2Ue9g7TIDE0gHfrJw4kf4PWmepKKqXJ9P8UNhBIkKvD80RdQoMAkT+k8CWsXDqhpL4naaXgrYm9LXJ5IO+LHkL/H3UGvp3EJGorLywHxDkHS2BBPZWQBV0QOUzthk4z+iveYjE7iRU10LyLluJVMdDi+/D6HsbD6tSptmHz5V7cLpXqmScG+JH0scwxnu63wSoAX7dgqlfmbaaUbHtYiGa8npYeApvir7rGpe0bpwlEm6RwsYPaiUvcEHsVSpjQTs/UeMWzs1vwc1QC7Ap2jLBH2fDuvfR733s5HONG7jfpvmsx18i3qN/MDQVVhe2nkcsyNq6KOiIt3g9SqDUnQ05LRFYtV4w9LzF+fdE0Juovbsdg5VCrbNIC7nir1Lye3qB1bFJ3/j0yzVF9sDzAj98kxDHcLk4QpelnejLQb3Lz7kCAoJEhcygiX/bSVlB1hchez5kGh9u05CVbBKHnNIBmcLTwYLOEFiBRTa1fLGLPhYEUjKF5/BMW072J65yeLwLHkY6sG//48zq92O4au1rbQIQ0mCs0Wslg5oxL8gf3jz8Knm2gVNmFAKSKmxz1/8UcCJMEIpEqU6szJPSJcq56LTR6aEXhpmqg5JAoSlQetNfU07XrRd1APOt4AJxdVVA+AvOIHNCdH7+hrmG6hOUhca6GC9aCZ7gqWYTKqIxJZO/pS2iMGKAsyU8zbqO5wGNI421QbyxSMinRgh1cJn2VcDbvrAq4K2ZaeLh/BU3ud3aj8TRx4tKl9Qet1U9qw7rrQ+XluAos221GhnUjTsXIOAwnNJcXwgVR77AfB/ZzWCXFaHEflpPJaNCO8F/5Z12Uw8rfphQMLCCP3CEzUfTiwFMtryJG23OJxEE98oZ+MNCIkfqbSK3W4wbg7iMSmZ2AfVaEKpL4p1LdaEoE5Su8sOWjZKNv7MnEPHvf9+JKHQArXBZevbOoPc4VLjJNlztQCAsvXG+I08xthFi7M0vbgnsN+4+5ejHIo5OuwGAYvsNiGCWipO/LdfiPRWxfcJLdlfzrZATInF449cP8w2MRgBHGDW0FxYF+kgbnMSBZmS9SqSUz8o4298qnCqRPA/JBi8XMb3ZoJf/hF/gm2i77++r+gG+eL1psuN+soGcCaAl71GxmTvw9HR1SmkDQ1YfQOGb6yl84aXYsD2eUV75urQRaJ3rUp4h/A/cl8mIkTihPksz43FunSjPalA6mnQ/a3/TCBeEz1GQs03pzTc7ve0ZoJ1t7/o37epdv4qyBOJVY7rs7xsllxn+VdHDl8hd8gjjW//eAv/2kZYqRks0HFPz4sFTJHxNbwaTdBssqqorq9tNLb2fxtAeVA9IzHApLAV3sosfzrlp0Rz6EOkQ8kD4JfS9IrHMDhCwaepUJuS9k9Uf6oiO7qk4728EU9W014GjC5Q85QcKcAupfC8R6LABas6KeieszQt/qH+fSSov/t3uu0Ng4P3LHAXFNsQiFmj5S/azooqWgaIxBE4Um0p62gbXQpjxg2IyIZLY8uqPuvZuJHbSEH+ZnLlA147eSVN8QbKbCAMSpY05W5wWNdlnliPIxYIS1n7Gpvi+8cNXoHgInISMszpTCiTLnVEhv7Di2MhKzfGvwqZBo4lR5qQeHYAvh1jgGTLTQb3cCtQapltnuRPCU2sGheD3NzCFZKp4p/vp5V1tawLm8z9hFgl7FfBXPIrJ32HheCBApkmLvkPmlk6vQEHowISpljXRn95wuOXxepGmTOm6JDX1RS84QdgwNZAL3RMY5xK1y5Fffp9FtMAkxNnsQ3K7zO7Ng8I2ZEMYOD0/MLVbChaREwt1jsanFv9CugjlFSMJ3cxNUNJZE3W5Xzim86A0HYZyqbJVwIcQDad2fJg4ro56U40V0GxjxsdVQMQKaFLcVtyn4XAu4V0NQB2b8P+DREJes1BqEKgXaCtaKi94CZ8i1vQp5ak3nS5vZT32c+hPRiL5M9VtbdIj+raNPgUF5LUCLyt3GP8MkUmQDaqhozwrh6s0eW2RsWJ8hOJDTL6tZ9oKcipF669SkdL4JyvJkIS51OFQ44mLjXYWDFa3hoIKYEzft8nhXzRsxZF9vP0E/rR3EdA/U6yI4+zyK5f6jC1IjU88KdjngknBhpeMof4eDFtK06WAwnC6OB+Y4H8egk2KJECOvC/0WKoJLIx8BhzU1bNQDXzXjiPN2yQz38ROIZcLh4Uc8SJkCvdycYT9LJCnvtiD4CTZNL4NGhBQZqeV2bYtrwYZjDxsGIfIRZa/w7aLnUexxa/lRtqYJatL0lZGA9rntheDo2jZk6gYzWjyhmxcaFr7EBX1tgDYDC0tu0kypkGlmpfB1HrDR8cYhMAMcykFe5C+lTKN/xguL6TCBNBtURDK8Bv/iPLY0cU29H/i3cB3fPqM7M2Zd4v89MxX1MAEm7eAdXXWcIFTfpoxCqF/S6NlnT3INXEs6ifVZPwBpORCvbfcBUJuyuXgpNgm/Ae/QtfhG7DxV4xX5+ZFtLxap+eNM1SEaCg6lDGw7ldXwla6ac2QDh9weYXLF6pmXccTXRu8tK4J4qjN2uCLUNM/vAx+rvDiLOEJtOoA6Ejc3t6Gl1Lg56f4iDiAPLa1VMaoWbTXObP2BPui05Q2t5w8jE3Vw/BX3pwr9UsABKDrNLRahvOZNNViy803z86X4rh397F4n9fsnxQ6AJllb5GMOdtUpyrgljXrgCZNlhRiyX2XCu9hOphGtmC/tO3XhSgGoqOKGraCMEThpVbUWT+lUcb9XUxlcH6BZ8uD6Dy4fZ36Fzcgo0YbgqnLSS20Jn5Rl0t0AWItDESK6ysKtBdBNxUAVijg2ItD80Oxx6iA1s6dACi/s+ZTweEMbHXvLf9pXKcMVPerKpS2k2wDhIyCSPAaSrHww3JbKjixxE6YVKYTlMRcjXgFHhAGAsPsbiykymmXnIg/QD4pP1Y6gLNK0tVrZQSDXYvDl5KI73BDZUKFbB7WyN9QbWc65ScXmK8eQ5PsjV9VRHbDwuAaYbNg/Q9rebj0DXPlv57uJgpaFpd99ajKgtbUtnK48XQmAHqCHuLgV66cu/ZeGaAQkWkD1nfhUFGYv1X8Id8pDviQ3GGDBnaOAv8JdB+icn0P9vHLL67Ngbrs4DhrT49LOev3c6ndxu4dv5D2s/NdFHnoTN3i93HIoWeH5QyZfzFO3oMJk9CAcw2dDtSRd7GiSu90+aOLuTqnf+KHgcXT5NVHNZOS9CxrWXuTKRNEsFjNFHqNdYnAAYg8efieMmNnjTVx/gCZhglHXD2ZiJDCJVxYzpbG8Su6TnHB2gScsVdsq4fS9hx0565gzORSWnzAXiIb3Tsd3vngm41zUknrExrPeaevMTfBIR6hyVok+v8MxzjTmqIor1GSaD5rd03JJ+mnbkyUc1Ni2A/1kesTfq0jxuTtHyxa2djoQw9MpRFQC4m+OssRkNKuPmtnp6V88kQf/sGFh2AJml+IB4w5XcGtq8FyN9IGZ7UQ0eAFh7MibZBksqXFYA/85bEn5SF2z+FEp9zGj4k8XmZN7Dc1/mnQho23MSArVwieDA4ZmUvT38PIsBlGS709Yscw6r7X/YGMIEOkith8KFOoLNd4jerVq3IRyKZDySCIyUw8t88pAt249vjqp29/63WOuBUeAiFobbP7FJXYMyckmCqg02f8lgqG/c7wkxgkNwLFN9n8MupI+0rRiHjyAr285iUZjnZf+rspkEVMJEvgPer+gdRnNqg6+HoWS0wthowYFm3oah4U5HIY/WnktMG295FkCJG5dcH7foPggLNHjgmyR3QJ7oS/I6+NV2DM6h78Ge0t0jigj7uKEX4iSJGAXg2Rs2TA5sWX89kEWlPEj9WFQJeIitWkyxbLNgKgn7yE6+ffJ+eqe+WWL3SaVs9HkIYUtUp//C2GpK1/qOHXJPBD57UPmZDj+utRsnr/b0VA1ou0za/K9BrJNfOXo00x9MUEEtHwg2Y7q35bxx8u+aLf1d7OEd6qceG3pg9Zc4QYwHYWPFkmN/qruAO95NLLZ9dkSij5Yk5yYaHNZqyw9cCPXP11xM4JYiYZa9esg9Nu7Y5TtZYKbrl9XRChvecN+sV6+5NZOs3Qfnlzj679VPz3ang/7vOl7vvtsz8ArCB2eMHxLx0R5+bqMRG9effklMITUiKGP+varDzwS/XIfHms31eOTZW5+p1w/VuPrv6viFS8lf8AH3Y/J95Ic26q9SUVs+8smUj+gH7Dw8+RgT2UDYO4gxiGt9Jqt7VnirUq9s6SExHN1D8JM9NN18JHqyJ07Ux5KwxlMn0Mm21jzM34+dXh9LJ0psP/9EUdexKLMt4Rk2IouGEfWewdmSL/FGjCOBbTKvuOQfxWmjT9xeGZeyq/GQWsTvvXXcZceqr7Y/0T2dMe/fkri9Vk4Qo3L56al9EbLr94Lwp0ZxAuSNTIbu7zmlzxFlekVR4J2z8By11WfQ2goqpOxbtFtayqEeoIUUgYA+cTAoYHFAsQw+hyedSddlBJ3daNmdCPbO+q13BiZICSOQEnt7RpQdKk8qvIb5XPwA/tkm9X8vZxC/ntgOeXtJ+RnEPfH8YKQGFQLFQnxUPRjVmzbPWQWrE5bgVxGsb3y7mN/vi546hAkUqGMgPz+8WobgL2Hqx7kqZFZ5jeKDYPpuWQohRdRBirNZRQcaZKfAgWeykJgmNQ+Ejsa+6pLBh8TSjOLQ0mPyc+cJDGyIGRIrKR8nMxYwj836vSY6acxxYMs1Fn/q086VKpCEs+5erO7ktZ+E/qKx7PNgAHfoiOHjPMXoJrmuiVJ8JqcAW+ohbQwv7esUhxDOxshBlVGwX+t+TQHyoZKTFhWd302esO+k2RAEp0YnqvpEhZPlSGtAZ0eDD8VBs/EsBjlbeKQaQDM6zHo4aKSp27XZPgVazYfBwrVFZyJVMoyQlrjo5qkrGzcdm4E5UmaJgGXTPEsD1iUfa6RFDxc5mhvg2YsPtOB6iYRibNWjiyczuC+TtlLebKTetkRIfUdT3Kv5JJjl9NZJsuOvysaqZH81bzS47PdLi4sAi51IgIb6PRvAZPeenGBjVQsCZWDRQtT7Axs99Pvj/GMPKEBskhpKfbq4ZOyVWeM16O6l6Cd39wyHLPjXz4w2cj5PbRljUkB4heIdJ/xciriCRfeFwTWy80JstRvdRrRriUaeuAwHRX23eyGAqRyU4hULoqb6L69NtaUADcswS6tJY6EqtVKNjaF2Zm2/21h9Lkc2M4eL11I1Hqn3G7vAVc++D0T/mXq2vwhzPynrlzTYDK5VRxSnSbjyw3v9m7Iy4mQ2T5RWEwguDq+httV2EFRWdkn+aa4mVHVbWWSOygyi+ePGtIfsbIs/tNGoZkN1MQ+l3PNNNldQH9MZvKsSDYPXPPgMIVNpCKpnlo/ATxx6OCYT4VEG+4iI0qjdhJg5bFgOhn1OYcRT0GFzpflHk7vmKQ93MoSrA2zOWNE6Y3tt2jEeGNIukmWqUaSbNPyiGIkDQl2SiuYxudxkFzKtgSBbWdg6y0q816CK9V3G3i/ykiV9coR0cbinwahE9Usazf7jcZd77CjfG7Bo4uDdNxpO/dc98cV536gLTal3+RLoCoiPZ73Lsqt02+JDn7NjDt54pngPJZMzSABgzkeX/wOzEe4elpTCGi/h8AvOS/+PK82kx7sx7WvaZUCz7P65ZPIjuLsTo7hujreQPXzchHQHDJJ6D9fAnPOperD47EaiaaXsDigpy/yqYUuOdeNUcGVXwTt0uI6KNDDbVxbcz3Y0Ff+uR+LdfR5X5QGpAHEow1EiDulXWNw5fcOAFn4pflaRe0Ad3+fXLKUwuDbK4RXErId7MtWyFly2GThdmqdBiw9E8B9GPuzFmPSL5msSEA0pEk7Feq5ksxgItPIOW14B0wLi7z0bopv3FZBovcTsT36HB+mC71AJP6Omh/qEeBGS4qpTNX+UFsKSX9hJw4if0y0iPKgSxoWnpegAmNRezssSJ5yAqnpF8K/eb7aUJzbBmCD/6ygQviZyaF0qgkSmuH6FG9S5OYTuUFLmk/B5mkg97tsrubiltiQKx7diiAMUEIlVk9Xr/EBc7w0Tl4nG5DSSNXd6p98ULpgiIcpx/rvgU0KRK6SBvGQ9O9ayX5q78WZnE9xsDY6PsH79QBC0BG8uWBZ1KAD2lol6m39okVqEoitO5ZVH85IMQRSMOaU3XwJq1FH7x+xnjLLSKzb2ypudiYuff+JwY6rZU0t8qJRjOlqtxk0tYKWkckkGJZEz91fv/BhtLmfGBoOPkzr5tp41XY+d0gwNUMXMpcCE+CbU437c6wi2TEe7AV9EcLpdDE6+03KvFX8KjHiaimK5G3SF9mTa2FslnD38byCVTZyAt1xpx5l5ZufPdztK+JdesBWrb5G2A96TfoScEjI25QdmwfxNo3RnckUBUFc7UwbR4fUqQo3LEV1WPF/0piVip7NhB9WzKSzcMsjHxO9cdhFiXrJPXhxjHPd7wBrpPHDH7D+C5jFJvEHNzYrHq7lKhVNmBwkfFEuw2YJaczd2GbPTOG+w3EnC1mTgTQWs1PQWbUrHwOQL4bl3Lktkqxkes5o9oYA3cDT3l47xs01FcY1yp8WHQ+aIId/VozlleXeZoSE7KbiahFAm3s2WkMnBndrsAP7nsHc/+XfT08STAnIiNYb+PFLqaHAs4Z+EkAbF4NEn2LwMKwiUJ/vejKQQDw62sVWJmRPlcrl5gPcMv0S6oSDykz9HIG1evqTdFdd3Ddg8v7zk1NrCVug5eBckGVXzBavzOC32D7O29Dt1CchK/r1KyJMQdWxTDqGuBL4mImPhMZXrCm8lIzjkl4IsEk1DcMre+tihN+jSyiNSzaGcMS3U681X/k5yh2UxUGAejMXEzYSRMq7zJJy0VEnikY6aOuTMP9Vsk1WRGuGoW+fiPLq0dw/acLoYQIVWm4c2jvZ+8t2+mxhTbnoOMOrAMIZiznSKcASV80qSQSLBXeWCNpbP9m+gBkCXTFS0tT8Cd1VYSVdvh9prsNc0mW3yQWWsxu6mTscsRnFiA/aWtkaJ32mQ1tcShfaAKlgXJz/Pbrbyz0wCkghjuCKCxEu2fwPBTkUybw6ycVudGWKyEyggDgoZZpsxRaqjdVU0rxDiLNnkvEmsVfAVOYuYcu2n61v9/8Ru5bhhMr+p6jF5RF6oNkRNQfkG0MOa7sRGC2HAQPdDmzWkHDr52vckedVaqPwbfCJ1WZjruxkN8aViqGS4+g85VmwHPUCrdWL9U4zf/u8FgRAw9LFBepFH534Kw9smnlH63FuoKotiuiPAuwtoAdHfYnP96HMGLvDFiasB4vbLTyNXXAiYwX6bp+oU1o6fWoiMbTIJmNtgWVsFsUg7JBjweqt1XdyZyRJDIARn6wPrLdNh+jUGIL1/wxchj3KKGpHFtgFzXdDlmdOG9iOu/kIZPgDE/Ss1schsfHjkZ0XfhwyvgIixRZTUEkDj7FIJwPwJY8lJ/IS2tLf4aJuJLiuzNgSoxhzdfPcaYAoXNx9hI/6N+wPIKNhGYyI8ZKSZ7WC6BUn/iosO0GmEgXttLrqXzNDJe+RM0owiJVQP+Ro2i0RNlv/AtU4X7ASjv5STm9/xSI+nTaud4bO9Z34ccMoRmLUojmED4IGs4oI/tY2Y0Tf/h6pZF7t0haKL3i3X3Dx9GufJ6ATZ6gf6GvdYhhE+kwLvM0N20YBUkDDHAMWoCa3BPYbUC2ji07wxLQWibQsUzyO81437VLz6dlLBc98g/oeo6RekS9iqaNiuIov85Mk1GGdYXTgF50s4HBzVx2PdsdomFLHd1yiB7Gdbgt5sXMRaRT3J3+pzekmfenzjGCmTP+qq2DHSCDMPtk/VLu29ZvEzoyrIUPJHpfN/sTeSp6raBy7Dp3SOGolNj5ZPhSpjGHAHU2mpsWKCIx5rBCYv/nO4zXXl+0P6OCuvu9PZKYghvk76uZlrahFE4qzuO3DftYgfir6GrZlBOMtt/32QeYY8cMVpeMohKePtMx6e5vUTCmp4nl2/D3QPhAYY5QENmUP85BykBJRn2O9r4/0mvXjoZNVKZuwvqaRvaxk3iNzko4uihvsKZu2xVKbJ0uVGmWq2Jw1iDe0V8gcPapHCYzQ7wCWI37iAlyqBUg6CNxJYgkjb8Mft+sZiZyW1rwDGNWgGlTjlsBZgxnVzAcgua0O419LHlUeNScaf57pN8IxWKAQnS9KKxumlR7pnOaQJJt9wlOSN1JWhvM1z5wrAQmYVAqFLAI/bE24bZchQP+52QLGAI9RTXJRM3Br5qrGLBQX/hnr8eiXZFg8kvzYlCQ9BpOg5EEpVYpZfmRq9lO9We2qblfIUdAhq/7Be5jLFbrrAWwH3vdIrxA/mvimoP0pkJVwIFGzkuIZftE3//erqxb2b4Spp5T568LROBKys+t4S4zYKFDFgzeVdeIoU3/X1SEOmO0M1fMmc2fLO/80CXYwxD8LzGpyNOh8EJLzWLQJIs7LmvvZfb4h/fVSXxgDy5Rs6ViHwBR+E5+1CaTWNDBWVazmI1yWDVUFECSKCXJ3fcFK7P0mXQizu7xjyoiUSuQxRNCejuZSGlaZPUezxCI5boBFR+wY0thHaoY+lvisRcIB8rjL7yxdczDMyphxbb4SLT2t4294wqwrPxgRNcqN5ExTEHLdSdMQd3g7QsBFIy/72UyqUMvd/TR3apGSwUeNsezsAx32GXEjYDTE9z9L7lvyYiGXZBHh9ldHawGhJdFY7zL6nAe1l3AYrqakndIJBe5dnTJetR8uCmEvH03wLLfTGjHtFbqVOPXYT1otM3hL82LaMzHcVnmvUw3iZCfIULp61HR+uo1ziSUrNr82e2w/1/qHmt9pv0HRvOqAxcgk0pA+Ut/kafq3TdOGWJXci50YNY18+2Evwp3qy7fkBWZXwO091zCMwiB+NwF4SrA4vQxnRy7ZdNRZ9bS9JfyY0o4i37Q/yDCzvrgDz8u/b5flsiYz1bd6N4ZJuCvSC1TzUSOb40imMmon3wYtihi/k6SMpfwgXAREXjYlgiHYWVJAKaTHEr8DOoh2gTtwizVWpyevmQDY+Zbg6LGUJ1VWmo2Po/ZRBHou4dhqML2tvH8MziE2jwwzIVcfCkJcZOX9S9ABgSAo3/mJXhQcuAlxyuJodf/EIk8QZP4mXTbCg5nO14cCTiuCytGb2j2lF2rPHmxERsEDWtS4IxDzaS4NvkDg4y84QCmh0pfPkH92sZ8qAEyffyT3JKO0pLNYqTKr1dGZNEUsMwtok1vA+zvHyfpOvzUcic8SAzl+PJXzQI55G9eM4ZaEDQlQGbk3W02P6iPQDcaghOY22blfNzATwXtc6ZjZiZfW3DD/OznpHVBGg67YFyri/vhVGjQ/klnmu62TiWPQfmemVmYqWkeTnXvlvuldVUmoo7zvJFE5jPWLfdtGaCucVKCc7tvneMlW3CmMr30py3vksylkhK10c3uwdoj78kxM0E68G6vGh3wSk9uRANptA8nRp8aXVNAsk55woO8Zj58ubEVo4cO42YdEEcJvcunQkDr02P2sdNGwUpayqCVoI8bSyixAn0IrFnGbafrxEUaj/oRJFpUEpGFEpa//G7poZ5KAu/5W+sFXsbtIFNJtoOpOg/7i0YK3zr9mBc3VB+6vxGw3NmnI6xXz+VjxHujEF+3f0SRrbTYa4OMs2/V4h6V64jZZc9vw2Gg05cJwrFs690/e/i28NNbWM2O9c3lO2qSeusb1IWDHmKEcahcuK+oM+LVOWKlR2WyLNfJ8vz1GZo7SDXogPUQe7XavXJkzx4Ft0gT0E5FKXQeprPx3hJI9IrfQVNNmzSo8l7G5veIxBGDGiKd0PdaOZkBZl8PKlyU2PhiVlAlfdPPZQ5YL5XjMZI6BGHSy+3/4hAxarSGRJI4u9np+38isV7Z72NDQuGuZxdsRhtrpXUqJJ8jVCoIE7jOzMWXv5pU3bEOFNDkd8i+z0wrmatYx/yjZeuvyPwn9+7tnBE7eo8Mg8qAhjdr6MSQ8AKxD9IQaFKukdkDI2K70xzvf3RpQ5xoWB2Upz+qDW9uXng89Sfcs+lU8u3a9JD+VAN5feSgwXDNK9nZqgZszhLAwejVySULiRz9KHqPD0WbqcEoWBTtNIcBS2YehsYwh0w6jhC7YYLzav8F4JebdULbLejvi9pPVtOjGTuR3cWuqmm+3JP5/zABoK/Jo5Wk6D7y1Afp8HENGDnIfETKHoKT6bZrMtT+OhxCg3Im59Bwe86FCTHODpwKlwsi6LWCERiFTCfbwLzPRiu9+zzmHm5PLQcaRfjXD+vrPZyB0UVU1Eq9IgluT6Sv6U/v62Hru6QrNaRYK/qEKJkSymKhPG5OLjJDIz4f2aWA1R4q2QedbDArIadhIs7G7HX94UlNvJR4CwUwxG3krrMYt/vNOzyIrivPROU06QfIwWnto5XuEQ9El6DN+DQunSOE3ge/ul8QG6Kf5vOzUmO0Z7SDgInERfVsp9Bxd4qMP1ProOf1nK4+G4GB0iW+IBjiR7VGrCUToEcldLpq1u+IDpsmj0UAHoXVVQvOvh/WhUKIDJ7kphnDzWoQOwowlK2s6Yg58nh+lu0vxU5WTREpW/L/VGYyedK3KHxRtVv/UN4l4jNHIDnRuWibi1xqyUqrI83XorAOWghJuBje2D8ok+UK3qiwgBdq46FyhLke969dGv6sLIZyD599UOiyOvmnJdzA9g57QdvR8sen00d8XV89IBcIEPruAS1Vp3hDHLgjlNCaZf+G9vijWWJ4aBl94+wUOKkq9n8DRo8tc56OiS+ETZSR78fdbYPMbDbHcCo4OrL7xLb/vTj9DAqFGNQc9nTs85lQZIyg9m46LdFGQoRDZoNfbrUuMNN5EBBoxNGuP9YdDzZsoZm7OhGo7xFwTW3HOuNioJlr3D0w5qeGDktujs7IFCNde0pLSB0Cz/PXqFoAGfqPSZ0pJLu7ltNsD80xLQbRbxj2zCLo2TpTaRn2RQWihOqu30ZFjTA3ZH6NU91OPqxsrUglpRkjzJNSckTysr+Lp9tJeDDGe8jqEkMlDQTfSMtoJJLW1xTp9J6gNdcf6RziauAzhgnPWEXF8cI10fm0/Oe4t6WDIhDKQRC5f5yUWy1V2WhZSPOGzCvYWtspg5B+WtbSwvN7R3qZW6K+/5BOksc568xoHrlKH7RqLesew0OVU82AE9OfThICw7Qyku20A1glYv7cI3q8sGAZyk3IhYHZ+UmVkafNwgxE6cbd1tSpJLVGreVkZ2AeAeH6EXLMRdZcAe03fy8ojfSSK7sRXDCCYl9Q3Iy6FPB9gzt8ccEXMS+PP0xn1M6JigK9HtBDlpLvd0lLTlHONAnOHruoaGQVf8eFK+xzKvSp3YwDjXv/tDlGun2xqo/KQsKHSKIILd2qPK5s0V+aDdh/Bga0KMW28XO9l/xB+JQ+ODUlTAILHnf4L7GnFv0HQpzaYmw7ms0tQUbsu+vH3KxuCw/XKBwBOC5WFT9joT+VFOVU3YQ4JokvADqO9U6kC1W6yxrco0YYtRN6lIW8EgaMs7TNssj7sYGSAbpcOuymRGk7DJVgJNk/4jfbmJ66m9y1B0idwEFIEO8Nwgcd0gW/HCs/iBMy6GFNY0tOBKfbKy+nYC+CxuKn6pgH3jsh/k9+ocpwbBFUw7qdeHNRvJhee3Co0kWuUu3UxcnGzLT7GnjHY3tHCP74GqlMjEtZoGkHOCZp+42nZnzF6E2vRNdYGzxEU4Y6Td4GSK7TGJBPYmP0dAY5D46vX7tmzyc6ssZsBIFQebcohWrHXtWkVpEGEslZPG5kz+NZQ7x0u3kkkCGsDrY48YxZAbFGILgTHz4NTnHjeNtPVgA1pJkOmSabq8l2EiuhHCBPdNexDgPB/WNztRfD+rtl6wEgT9OrXXQTNafd+4zsUbwU+7sdAcC9KswejTHjkmQRgmy1rFuhf2aLnzJb90dhov+W6mQJKgY+/WWM/PxgPb77g/Pz+ZgMOnU9We0Pv2UZNu92hM0qAuOyuFQZ190HXYU8Jh2HsL0nXeT9crnSjCB8ovg09yMHXEOCdABlheeN+wRftrsDcjPwPPKxHJ/UGeU+7GRhb7iZAkimIroJxJsvvJjmRnKqm8uWsCUE+l/r7sraLcQ9CJFJN68ubWU/dbeOpVs/toz3BeLwqWIWLVDvJQdeA2Czij9CSGIm1NM1lJrHQUzRt283EtIi3eyxhDlWfbuZJdkVdDuNjUYKvZx9oSANClgFIysJ1zMS7PWAMB9qSAyWmafQDeDK+9p6+uuMz6UStRHq1furvjyJLwt7hvCq4cfBvREQTjBfzdeOEhIIe6FeMms2a18+0NZgMFF4zIAhPOWQp8W6kg5np3vqSv3SoK2DHCCVHtvGOZftR8izcejwM3+y8kC5ooypAiYglpaHqdIEx2yOe3kcodJ1QPYG7hLlCO/SfE+8DtHi/puwvLbFIycBQbz8u28klSdcJuDfhdB3zjDDMw+L1RuHOs8t/CAUPXpissIIQ9zqX/Hbo16QnhuEDvxiLY1dQ4k9T08zKQB0lwa3qb38x0d3/1bCUbryClMT7B4OtkmCQ1quvXSnW4mvLqCc+gCTUBqntb+xEiNfeSdwoPm51P4hC/kE4Z56IgWS1u8fisAFVYiqAUksp+/5nI7h0Kz13NafLpuoIFd8L2iy2DfZdmq+wLRoHIM3/bfXtfja5HEY12Utalof0CwOrnQCzOhwGd5Yp4LzWYitmHubI6UrPr4+f3CfX/aFbZy5qc8jJHKPPZl2RDnggjYH0NYYpQ68LoyOllTfcNKgSnOHJC2v6iZRMj9NhzjPM3NtTBlbrBjnGODrucCqIVcTyYK7/O/nrv8EBEDhaPgZdjU8uoNvBhI5OEkJ4HUdQIAR97MDNo+09jssRTXb0JK0rSa+NQ58dSz2I4IGZP6k5MRj5LfoDSX8dPVeUQ3SX/MgU/+7zD39tSk88c/BE/QhbrxnDp2p8dcE7e2LjS/grlsMcdlJAhFJCuCiVmPNO40kvETcRyDV+dYgMSCHQt5pZTWv36U/YHqMOX6G0o7dzSLrSoO4mxtUtpuo5l3+91czwfPmJpAV3LNyujkDBVMWigCH66A7XFiWn1NtTE3TugGvb6u1qBg04S1r9buL134C2GPR6mlPoVBedVN7LUPkKwNQvIkFwusbYnkxcituTdbCu4PbOQBiCzvdelkfB4/rQaPukPZcSkkZpizOn3X1/02okb14FS+0POs2mXZvYBy7Fb+NhFcw8Y2bqSleTahJ2+i5sMKvQrFefM8ab0dam1LIVFe+Dwy8qYdv6Xy7c49i1rzLD0Iae2yuWHqb/DCGdCiM7stPb6HX/+vk7388eUWQq4sXE4QZc3MlLalkHkLTjFL+e1GKRmmrf+zkXSLx6c4t5fwe02GFt/SA+8B1rUrDJA0MaHqQ7ZBfTkBwvNZ29cnCKwgkipsZw+4InWoLNpUYpVY29tuaTtb2dbY7hSz3aSpqO9XtaxSNi0P7T2O9DeYOON2JdYsUxg0ZUpbOMZGjDEqjr/DUu6MOijkYOQFdwWKdaL62C3OK5n0iGky58L21MZCTjkpoOJU3Al88+tLh2xqvi+RKEJ5X2im6DDFag3vBD4TqhVHiL2yJeRfbUC9mo2yP61m8OQ3NPrYHMR+lLv4dBB2mZXLuctma0/bIsaZF8oxnBpRLqaYk4KW9GO1GI0XIKAIAAx+jB5SQeKHTA/6BvtI0kCvv7TZGgmym4MdMHYsA8pdTP72ODX0HaFLippvQAQTejDvf3rLGrGAwLBeU/TekUPM48JnX4W+mpD6pwEeicNr2i7b0MvM+geVQ/6lXIHoWStyaZVJwZTl4GaXRIkHIB+kpy7Or9P/S/ikFL9msbgD7QSxM1CcYwwHhtxzeOlSvuBeFDzofiL2wgxDYd4ob3k8wn2m4/1CCY7IDHhm/SQyoanOnX772v56/ds08KmNBJVl5SuGYndn5l4Q0DetTDjzNSo4XAEEdQ2E9Xk46HbTdfCtYE8zAN1jGFsl09WFzvMgn9YHlSkqgDBtZajK+bhdyYX8CFCoho5AHo0DqJAllm9G6pEn601LkFrJkgCEUdz6DIlWDYOmc6AXCNwfSllatwzMUwLFtv1mVjYy60MSfyJPmCF7VLUJDAjXn+pp7eZ5mBDwTZPO7d5IXBhuPbMASD2ex5ycEkYbwpWnfgwrH9GYfOScH7i6rYo9cBbdK8Ybng5k697niOGhiYQzBkrOrF6Kg2OqkBei0T1IhPJg6wvHgrBocnxI4OoyCgvsgpBRhcWtqQgOIlItUO6Qa2DmDDSEB6FKRtgbcY1al5ZSsMTYZfvGsPvNOehjs3kBjyPmDM6sGtATGPx5CDB/osz74Zw9WgCHmsU1TJc4f6u9eVSl/Ixgg9/nsrbm+kLM47H+bCP52vIuCXIzrrA2DtmS/HfKMXGyZq3I/QJbgG6TtXI7NAKFlE8S0Q1Gwdl58jDQT/VbOM6hCBk3fKP1SCUP+5WYlkOD2TlILAjF6BJt+/BaBfcu8JEx2NLuJyfsDPuNuurfqOorNwPVcfHzRoqwrpfMcdEYus3uTcB79+qcZ3OH3VLFCLw3qE+cXNDUuez/XcWMbYAEnIiwqtvur1CXSLLPDurS5Oj77QgdEBy3ZziElpjXZss42TXnt/HmVPRkrTYvD1O/N1vUsa3R9OYu+jWLoxOte+bETBDqIksViSP8iK6/qLZ5OcLYUf7oafwOyOWNQwu+rHkEa7Jlyz0d7sCGpJggm2yefXklkdcyCbIVy1o/JGiPXeiyxOAit8SbfjrYXl1RdQSjoeNX1Xo+ygXDAA++utXv9Xjq9zdodSfqI35HG8PUGxJ4sAFw4grcCqAGBGn2X+GJbXSE1qOoR6cY79AGtERUB7h3fAZGZE2oeJfBLgfNhySBB5/Ouig0L6OnSY2xDrCrL0Y/cD4fXKoFjQ+xY3OYoisf7k/NtyqCIFwbB5putUS7lxwNjE/vMt+u19uam0ryGWLwE4KGL7caT2ayviX8hNjNahzq1sUeIINcjiSb4ELKLgdsq53DFfAgOCoNOxNyiA/LjzWG9U3HWAiHOkkv0TRVIjphGkjllAqIhoxWRJ+en7P1d6PTS7Yv0gKLdWTwRvnOLDHCKnOdTjApGobSQHsOXqvtV/8wCtKCEUOtvcGj0c1zoPzVGiKutSNN9nj8xciMhhPuWnyEfiP5HeYD+Sa8MRkicZai7RYjUUvW3knrfPBfRLgYHBBlYlLpEE7oZt4DmnO+jYqV1rV2b8Ze3s1wdNGNfW+N1KqFvBMji1EmJFK/rJZ/NlFxjc5P4zCvRYMdSKCOv8F0XVHLw426+H9l5uSNsH0rSHpCn4MoPDv2PoZhRf65C9iFSwhCARMZshJaK6rxaUFCj2x3qP/NOcNMVzl7seibISn2pcvNeB2aW301Nr97fL3/jqn86h6jF7gzBAI667auCQ2jOmwcXB9P37n1SNuga8LlSdef8OujGJqe4Svj1JEwlQpuY4+9DBkXDMYOYzwBwgHGeOc+PR843W3ssKYsfGqN3g0DW59NXMbzGCisvrM7WiWcUrDSK7JOop7vFXliIbRF/TqoOO4w5AV70tM9u/PmpCcYUXHvXcF2SBz9h62FHNiuIBNGzafzOr/MYaKzjj1bypY/J1cUAK+sSiKW8DehIeBU8UHKne9Bb8GsqtRafPgnuPRB6iQcT2p5DWKjiQA+xGTFrgUVsULQypnYCM7L6barNZVHxfhbGii0tAgC7RP62f3KX3MuGXcSI+Y7Qu63Nqq3Kqaa/TfhccjPLQ2YLRtN9tMz67m1iF7sbfO3NsV+0vyN6pygh4uYNvZp2luyiOjFnTOWJjFBgOCExvfaQjacmeR0dp5D4AveZvaXcVzCdSBJhbNXX0chZj59x8MFRlSZeBrSMxc2FCCgM0lodKk5zheVD0AJk5NQNrauVG+ZwfxTwFqD5xaEd+ZVjnxQeHx5YIrFwXdR3/MkAXPSrKgFfl72i4wcmo+g4JwaqdsRfFK1zWoZyZGqOmLASPJ6lHcFY7x9SFBJl9PWX4gOodTzgIBAJMxJdeUdAy+FVWtt/m3NK0iJYbXv/5GBk3okIZZFiHlFysEN9bJrTXnkmJ5a+u4zBkCwXFEdbktVTy+GMCJlPko20HYZlyRVXkQLDfG2xiEfTO3/0UvWHw+/Q/Ju64nSnICcvpc/kYO5ubQ8jrYfnpL4XZn6i+NhC5/8nvn7Kepy9nUyOEInChVE432BiLxD27iVGVogwhqvdiw6O8krfFUTTQEgKk70VrOxMkzC0QPh669WOWVtbkpD+w48fjCBPl5RyZ5xRUJqt6PyuWXFee6vc2FOs92gJZwF5Xu8Pewj+WDt4JYj4kdxVHadj7/kA0ef80L1Vkuh2GkulPuliTCM+gm4+5bVqtrsrelPTpVvo5X80/fHlZea6DY21t3wAdzwgc5xBk+9Jy2QRhpiDSZN6/yFk4MZJ2b1KWvb/QpA95zq7zdLiu9Up3vDghsd00ZJJE1WXED62CtnGVPa6ak4i2YgW1ngGldp8YrlEAkOVHuttfFSBQ424m94YvQVv46fhpDy18NV+Fc8STCUZKeIgzbg5wbvrY4cSWdgGyA5dVvAAH/47jxdrFPahazThQxfMLT8VQO4sIbiVngo+6D2u09dUGvvZhopDooooadJHRejQT21PZe41EGokDBb7rZg4aNlpIvLKGZuEDyYat0LZ0JsjL0jx/o2rSblOPoWv342vkTziyP6B1cxrjVpLBvhgE2Xz6rNavcNe/c2o3AZgaZToUw42zxk+3DatPpVOwWEXZbJMYKwyDVBzwscAMPJN4j1ggUYP4hcNwJ7Zbe3O0dXjGecq3sfBXv2qr3TimUiVVEzzcKemlbVHPpQABE6+og+DxYtti6+6IgHmELxiKTnvr9U5gptsdOyRTuqiRXA7AwSXBGdoq7Dn73crvAislmZuOiN1Wz1/0CnguQ6CDyhvm0ythRMXepWba/EKZVjDTpNCa+9QCDwmi28XNpH7YMY707F8cjzZNHBhD5ZDZWSdzRZ6G3WC0PZaWBONbQbWW4ndW4ZVk9MyYUY+ikm8L4FdApxUJQBwQalhiiO+pq9B+jySAvH1l6QUJVaiJtDc+ZUaWYetAxjgDFLRX4Qzjo2vG7ubk67cWnbPLIxQtVbFLGzGxmXrPvsDZIWeCNsZvXtnLasG+/MDYjKyj6xa4GpEX/sjHGS4uVbSE3GWyJPkUGgm11bDnJo9/ltuq3iVtDHhbNl3fF6XNmnDYO9lfx2UqToJJtt+igCm868Bx7L0lxaZYfPTGIcABD7U8efTJf8MsCX2ZNHO6EvmGEScj0C/w+UHY0IsKQIcI6VLMHG9MPreCiJj7toexyDPF7d90mKe1E7fvetOyIcdB1mjZ27B8GYY6NURYRzYrocf703kOhjZAVdOlLxWD1aa+O8OYlQfq+5+GgF1O06bVmhjVJH5tbW9QDP8aL6g6FXR6WmEGYQAszKc5EeFnObdz0D1Tzb7ds8SU4KFuq7TiF0XGjEfwgIo4AdsYmOgGxhBaa7R/mzTSDr2wcshfLSwomYgNdg5bJekjgiVUYu3JfXJAY4sQvwpnTQP1a+YMoYjInzsmSRLweyFH5OBJKIDVcZsTTg7IWPF1E3jhjn2h8/mSnv27oBLXgIZkTSYv5EkcQe7P7ihRJeBLmXGyGBdrMXFh21a+xAq3Qhv4c06pxdmHplJt3qwEoDQOOT7xb3bLjDyVDlWDe1VwmbF6slEG1qqQzdmYiHRA5EDSCgI9awCvBlSebVZt4HxrTvnL1CCR03G1YxvY1GxJLUy1ZdegW1063/3Iwu8XGqkQcmQAQozvzEZ/AAGI0dsd7SB52kocKAYHqJ4Cih6p1ky3t6CuCjHfAkchOjCsNCpSaDJq4dvrG4A9Qinbu4+lByWVB/aW7hiiPUHaOOcSjc37d4pcQx3lkNhn+yk944Qvpw162HxDTKljTA+1rELdbqSffcvYoafXOT3AOOaM2aZmmaUZXpAdQHfVkyzoBWIWgJY9eicwD9lNhPaX+XkA5GZhR9Pe9mszawr7tnfBZ/z2I4DH7+BMUU9s6za8bItKBf1wJVLWOexLIT5Ekq+RfWf2rIceDbz7UrlSzgycVvXOdeeVzc8iD4diMKvC5cdJC/cUvsVye6qY0FF9coh6g2WF36sqCzyknql5/K7XlIScxMVgsqPNS5UXx7j5FW0HRbgx5JvdDvLBNu8Lw+qvDfYu9i8+939NhFBSCHcIIspshWjiK8SOCYvXJYBCEOso/9DrEAke9yKxT08XlAIrMtMexEtD4gZTCIRYFhWnZaby73tYOIsjiURQtwpujK2OSXrtN57knNR0ApKIgIzKAY/nxD/KEq3zM+43/ubTerXHf5rbuQ03b4YqBnN/0jO8/kujJrSHA7G+w/ARaFzDAnWrg8srWJvW1ow2nBUMf67BV1QZpjai/u0b68kUfXhE/07hM4D1G8/V5jUrb3v9si8kLyYx4pxIcHA0C779kA9oYgmAQjz9S4uhHQpJOuNBpVaX6JmOoenGSqC/jL1F2cJ2uUq5NWboXAeqCf4P6FDPUFMBjizgFsS5a5dMBZqTJPBM7deIGeJ9mwWUFoRmugiOuCMEQKlUYkLJnh/+A/QeFJQZfRC/bu34e2yGcHKig1zo+iwHizO/qJHqFAU8tYV9Wzf+P2OW3CCvCIaACCDW7eRumwfdT07Qv3eIYC3Gzb+FFpx7ftaGMu8lSdcWQi4AmhXlmLrELogiJGTfPQYF7cfgv3VIOA4R/4j3R4sqUNYwZZCwK8l55USXuDmWyEEvM3WaJNhmH1oEugTuTOn6Mh2TL+timyqNXP5XmHkrfmyTX2S5xggIbA/CaZwIp87Tz+VjCx1LWv0Ky5JePMw7LObg8FSbwTKSKpY4tHi8eqQOOeid6ZvUbKgrkKcWYEykvI7ZlV/Vn7KipbdFPpoZwcYthcfCsA22KBP8D8taQ7jBnL/VcjoThMYDuNxNi0BC1dXMHqj0RbG53tyfXZQndGqhk+KMHAHhIbTNsSteRcy5PDVzagtcdnQgax0p0koSbGKbZ24rETsjenqjhS9Yk2NOsnMrkrOccaafSWBty7iXpPymFy4Or0osR+YuO8W/JyB/HC07vvCmzyee9hDKB9v5trjdKKJsiKP4qgKrbuoCsAXIYke+dLm9N9nzLTyf3+r37bEiDCoTCnPsWqU5SlhZR4cHBnJUbiw+5IxHg9jQyKQ8T2EtA8qUhoBmq3+0eIj638LbmBVKCgtEgYEkmzG6gxrc+DiqP70COANYGkhy9JuNxj6zQWEicWC3hbFMZBrJHT3R1Ta9Cvecryunj74xYW9qRsuJ6M2e/CF2oxxYi0Cp+y2uIuFE/SozLdTS3o5sSWfsl4hupMxsdabw+SgHUG/OwtaVeK3Shixvbfo90IV34vwWnFTM1qDQQwQJlNmw9zAVJRmcIgKkgCpOO0OhtG/0YMbmMIO47uzqvrctMgHSI3jcADAG5uFSzXbEVVghzdH3IV3A7Sz4e6ZTB3oyrZ9L2CyKeaxw954QuARvlifzvpB4CJq3bdpVf2wnLjvGqS9EJkW1h0Y4Kqdl74TBzxyg1A38SHY+Z7O+xjEkzmIez9BhUL7L3Uk8fFTdMBgoTUxfI8nNtVC4SmjwrT3h3dXGU7dVQR4+/0ubcMq3nh1y86WPI4BF3ASZP3yOMoJXjf44M6aAkLz5B8OVSgb9JYSCQbuPg0rh4ciI+m6TYSJFGYpennc3T67XHnfLSplBvAlO37cD0N85o4qn6/iXjZ0+3WPj8BidhEQje29OpKKl5Yt1cm2XxnOao15/cDfh0dQeZRKnV5fcOvcCO6YFHy51r7VxEjil1DOXNTclNINWtmNbx38U1TFqJEpUOG1QrSnSgzT5GvkqhN24mSJ7hyFHu6myyTTqPEWUFNiDgCs7jgQtOXpo7VZCJkalXdZtgrFO2abMt9xONfUNFEcQPn/KviXmf68dUGq3LCCZeF9UIWZn/HlBo6KySn6k1IcRFidaifboCUyT38lPCmrWwLRQmV2mwj+kTm6k310AGWcqwyJ5yHTlXFfRLKrKttcz6YgyvMLCzsW/1HEPxLXISTUPrj2CPVLhjIw3iNOsoLCWrTflTyT9qr5MTPR2j1mjsaWX53LsBly2ezpKxjAuM7dSblcBYGY+IimwlW3uOy5+eVz161l6IzRgTpFCxVXgC69SienZO4rHFrtPxv3Srv+wYjK+bgp/rlZ2zg9qZ1Z/kK5H2I4ASs29ONukuKGSzBUYKSKk4CnbdGqBrpCa8fN+44LeY/v9px1dNc65o01iXplyS0soa4tK7WAxdpDeNgJh7KEIlHsAUqf+UdsLSvoMKG2SWq+GbWFjLE7F/NZLTD/MK7bNEJtXhba3fsLW9h8L5yBDMWtGR6LSIyBN3rmHhYSJXlmUQ9Fml3BoyCq9bJWK60G+5QqWRw87Z0RdPFwy6GReaqTfC96J7AZ46bM/Yh0RyLbnUh/6vWVo01d0r9vQBZZJSTpoZQotf6wOOUBgspN1BioJlzUIdcfGz01LW5IlMBhnbz1y+90RoUxBpL8tljYgdRY6b3NjmwSy2TOHkI4veQQhJ2fnwQnU+r/RJroPwopQAPkyAeIE4RLouavNh6YBeAVHpnOss4X6byHszu+kyyTwlgRKENQnKmsaABFr/ymWtmT7KIyiC23GIwq/gG1yJYikWEOIsTsosuMRE08EaeDOWwZO5Xnhe3ZI9FvMaSZTEKQCimyu8ML3b57eT8Y/PKQSl4Fzpzs3QgW800scaSPrAGUmym7wOghhFlvuu6HogCJ0QzTmVX8Q87LQZEqWKICOvgFU5E+V6AFB+KjiINkuIFlkdbG4VqtieVbCbeZYX5ViWLmCMR8qaqPq6W4c7+MYdJ4QwvmoLY8L/f9LfglZLy0GJZUP+CeKv8uJXZ1f/NGG7FtV4BvwieYYxHCZ9IwvcDZZNsihV+b9742jCOpvNFMkYt493TgZilhPKji14CsyGEqcp0J2biHWTRwU1PX7sO+XFr2RLNE4Ho91wuC7DRHwGXNwXHQoJCjqkXdeaC67t2ugc0apehzQjNK5YSVRucO1Ab3BA6pilplf7EWCZu34laLsFU76HXr2ToPJLGJsdvcYotqJhSMLexfrXyvmcqso4XlOT1ryMvW/y3R+DVPawyjz7V6i1fvIUBNvmXfye8puqk3rzKT9WxwPpPRL2hqd3RWI6dvtFJB3VG1HoFQwDySUhd+rFFEomZHetyWILOzF5UKu76MlxaCPwyufREkOtwgQtLaxqZntk+IJrGdrMWizRgG0T6ZtO7MtsHH4mFG4N8nwnoFJkPsUlFTIA3FAJydvCbR+hwb8GkQH2+tL/WPSM0MCeYS+SQxNnsPsKbKvGWps0v+DGuag6mjdJGHl9yNKq9EbD1Hlr2oZD9jgTS1nXiit+mw/KRHGsqnD516JqVsJ5GxB7g0w5WEj+t8tnp/Xnax9E06EzV/l7YFAwbsnxpbiaFBnE9SdxEv0GTh6Chk80sQtlYZYaBfFtX8LMhZlIWWFknpxyLmwY28KJHnvPJPw2f5AFtiBvzQBQaefOe6B8hnLoHP/h+fCmghEOZWOz88eD7NfczFutDkYnp2RwYJ2jrqS3pFrruP3Fk0IQ9H6k2qUF/2gA57L+5XdlkM6Tq4QRDYGXhaz/sszmqH9V/MgBXlW9szdiV3AgvbYKVcYL/yuDomRwls6XqIuQY4XC6Gh5vMMN/Nxn1QbEYXZsJhaPp81rFAmwTUV+zZox7CbWQbgVQy9E8XDQf5CJdZY2r5BGHsgccd/36XRfnuBIvUsu7gxqHDv2iMZSJLKH9UlA9T9EZkIa8iSSgWUa7fY4P8sDkXD33NNMtvn4ORPN+RnGoFl4D9YfkNUnWZqE9L/7JPGZJn8NywfUi1dCPm6Ss0kjoUTUZYqlwy58MsZU5Gj46Vw4VmdLQ1WYVN6rvUNKgeBXFyhULBgeWMepoPKGdt+ea1cTtWee/5ZcxcuJEh1QUp21qKK83AO7rd9ck66NU8oem+KK7qYGfqsRBKG7hLCf+05aPEWIdToaRbKIHJuh2CVxEA6ykq8IQEofZbO7RMtXcMwowirSHnnrxhRUsuX5TE0X8Fr0al9gjKGaVM+qUOdXhRCBBc6k9bzTU/+FCzXBUODEABIbEE/GKufA2aK8DCNzPO5mg+v+UrEaQ/A/IX59apTX9+z8Lc6wlsWoKN+mdgOttVzGDjVfJD0OkPZrhF8APqp8n/nR7Ro0gCwy2u2zT6P0ipA968EeDFwh0grifP08dQDMlI1tSLPnY6jGr7RLbN1PaMam786rWFJhvTT1xHCcR8DkgsfltPMEq5jemgSi6250nDC42jSr+jyz4ZgoxBUo9UnIwDX2DczRxSNxTtV2QoM6TVhkfBW0UK/+xCuQ1DCBS2jsdfvgOpd31/b8irJUKc5KnLhqLhVGt/NYKLonyTO1onh4Jphs+vT0zu/Ud36OiDNZMUu4SGlB9SRo/XrRVnpq36g9BGgsZ2Oe+8tvd98GoX8m5FKnMMiDBNdq2jHWSoc7y9K5oBJWaJ8NXDEZH+UvwcfD9heWcmsWuaF/Ne8tUD3R7BdfURU/xX+jTUbbK4PO9BbOF2jlDCVBqo7hfXvm3YBFCDx2ahd/Jno9MrqOGMPvUX8ZX4WxcoLffpmLchyxAdK67+ORAjzKjx5gIQnTaPdn74FZz1V6puyiKiZ9IzGO7DF8Fs7AWxTlsC+C4lZ2i7jBWFYj8gvQOatETc0od/gyeWgv1GU1VkPGkVFc2fRNTbAYRle3eY7fBnqjRcrTR6HULrPB5cceIbscyBpmE/8RvyuJELXJRp44/Gn+/6Rxw54i07/miHkC/E+nz9SBijirXi6Dq2Gpl3qB+PklxFBSL57jcveGiY5bDZJ2gFgSGf2JAQrQR4IOuz3uvGcC11s/gzzbloixUE4Nb6AK00Mu3pomy7LgigxJF/GZ/OKjENCHMXNIO8GpYz195+LCuQLECwFttMGEzBJxmRZSkEr1dD4dOtEMpmxKHDwx/UN4Z8Kr9KQhN1sfCdpkrX+QwFu9BdU3/2Cu57etBAVi3qwlgqa888YnvGfxFg7Mfuj1SXyzTlm1gw/7+uixCpVJAdimj8aycJBfTwZwgv61HxEI1cmB/eVdeV5Ab2LRx4tr8unn0XgtyHqmsP/ZZroMZ2siVKko1rNp3hdW+uaFkZRpTzVG6OY3KEFvrgBW3TAUBodOfJHH2HWGTpayOFURttGgulE7Zq7aUYlFIjp43B+clQUwOHmbTLEF+ZMf+RB5CF82xJFnP5rRGwskXpsna0LX+CUCzjbAxlSFkgfr4CYmQvGmeRwS3PDNGEGoiQ2MvLIZYXBeSrZ0RWMvtP9xu1I2rw48puKvW0KV3pq80fvrPFtJL4vbY4PtZCVphK2I4Pd17L1YDEzH488uBO0ELOLDHX1YOGDrB+gzY+/Bd2eAU4HrZxT6DHe9GJ2xKIPY/hmFaKOXSw5HhCW1tRE2ir7Giel66K4+0McwTH+J6x3wzAWmlPZw+v9tUNA8JHez9VSxo9OzDvLgEVJ14+bvesEi0wILhRiLaKcws5snxigehv35UFthh8EppUapKES57WX2nmxd80sPh8yMX+xiagACROHp1aetxViqndlPbfzB1AmXuTTMv9TirtN0yLukUGS5OPTtgJx151gNJSODrmyXM6+wd/W0PkdzNr1KO/do1PWHLeJsui36nNVuKmAgPG/aDjfbjdvQI/lZlaNPyGNHmsgOpTKD7SEJ/ePOCM5epQpPP/t/feDtIDouHsJiPP0UhviaKQTbg2Lt3BAjfFN+WeLE7W9ptsFRb5qtkeHBJbfWCqhTaWOAOOO+qnD8pBdcBOCzxExUmpMty6Lr9X2RwNnT4YnXspZ0CJx1tYEi4xc23/xrWH83Kixr8Sc0tsfiXz57NRZC6JrCjnTLLXuO1ue8OsGsuGkIYblSerNzY3OUvK9fLdCiq5BzqmjV/pQ5Gvbg0OK00L+errsrJKClvI1+wHDMW65eUhP3VrFhlB/qEyKDdMdNrX5MCUXMKV1XXVctBJTXrGuUx4LQZIq5Cg5yuyBMzKikNf70Bi7lAPZeysoRxJkMHLRvqPMCNzE/qMzhWf5ay+1oh0Ko8d+ApjEiIOQGx8UieW4M/k5qyaQMZ3joaU/UtwVfYHV4tLJb6Wy8NSkzjzFaEI2V4pMAkPcbscEyQ9XCFGMGz+eWXN0rY7Oa8ZgtOR6A9syVLa1zvCmAChgcT0e8RD+onou8GXA1xHsjt+KesFl9+ZFShpxTnZB+XI9WJBPZHTMkWJrjYKAy2jSCkm50Nqgynh9wPS5yonSTxBI555LbWKKo66ZW1zrN0r10oanl5RA8RsTG6/yxXSTRkTpj9UtsKRaMhLinKEy/GOs6mQGYSE+EM+vzH8kfbpDdxv+o6f0fLuQHchqgGP9/gStCVmwHS6XMzsDRg4xEpGslBj/SBZ+ZgX0jXfm/dt2vpn32LCUZF5dz0r6YR0gKiECxz6m0kEmxr3e9A5KjcVfTOCZ6jCfN76H4v3YuTQ+/z1mFIhfdq6Jv9ZWa2BcfrGzztqigchABb/a8pczWlwOha4JJQlTH0BKZQA3StJ9vGigQNhzdpKHgNEk2+1cczW8ZPwYzBqeGXDJOapT8MiTsIfRvCuMNnnANW3Vn5eTTFmG2ApEbdHfxznIheBqfiHoMlmm4g2C+rEOk0Fc3zKaOGEfokk5x7ZI3hCCfhDRdDSBRtag8lOv9n/S/F9XfiZIeps5yg3qxHd3RvIEiSiz8LucIvNu0yArsCNlZ772Ytr+CgfhUZOuSsrBaUZusiFJwc7RhdgqMn1zOMq3Ir/WnmEt4B2TpXFfb52qgCVqeS4rbxBUtA6QNTz/6HfOzXNTFrgcm5wqpOtS68YWgOyLZN4CBv4h7lTL21RIlVLx5ulBKd8BbbHLnVPxkrNM6A5fFhND6FX2Vb6QmJimRlk1Ih5z64RnzsN/J2dF5PyTXSPHWlC9U71+EhZgBbMBJByArhFmHfY7GPpSnjgznBQd/ZYDv+pCtob8MQEJZQGmtEzi2uNgkDVr+l+V4O28nWtDgb79vthkNdLWHeE9G5i6AgzO2IBWdPm4RlrjtJ6yPYlW6pVOWW83om8kq/s+EdaMofxNYBVWkybxCOwr3AaIrcLM8KbJtXJ1qvkh5SGWshQrREbYqJTs+9LQN48hC1N8CdKoXFoySDSqOTdbUBn4Fc78QO9oMe1oaJSXN0uAKzVktms4KAfM6eTk3f5gRoGhymIjI30jZaFuyOmFQEKa6vJTA35Oh4jYmKNP5664ZNbdrc4C7l8XHKU9zR+gF04Z8LMAGdphwPUwijotRvV7NJoQPXNIKMT4hLlSCQ0TWnGGkY8oZCJ2LeUGAzmOPoEQzqk+nV4ipPthGI/3ze7ZHNy62H5LRab/yjltTNPgpa1j+vD9FZ224b31c4WOlq+1fy3mxl3RgIDR1StRD69GPapJtvEeSRb3L2jjyQxRbRydgBXbOp4svC2LnLVlhLRd0jbvcZaiWKcZS+vdN7M4cmUJq0XI6UQxxzkyg4qGF4MTRgQsF3mctrZhECQXnXhBt4Sd+6fkzkRIWasZrqA1XfNxTunDBKQSwUcHR9S5Y06I6npTS1NydGVp3lB90ppF/ccNtIc0OvMimuU0dMBqkUJP7Mgnb0+EuVRxd+NgZZVVL5jBXre6qnqsGciNadPJy5K8LhJY9sFvCVfkI3QWojDHxEtt99ephPCFnNzgVGJiRuduthqx+duWS7iUp2kFVaCj8zfEnYyXw98vikwsQrj9L/QhzJD7+FzLbHbvRpYFN2E3aE5qZbNN+V9UaqbYbkZzCWtkrApdT+NdWaLs/r2BO7zfCNU7134OehWMP9HrnhfiMdXI8bWB5R+VIJv5CIilPtF0XC51aUoFXgJcqioPT8upvXcQ0dE6B0u4W1cChcWiCLcVTTFVQdV8Rp+GLy61+UihmcblUq5r9U81mXaAhGSTp0HuaiRPmPfEFCFSq6drtP0a8wEweMRgNE+FNWH8271c/MeVpI2QQHMMTUCwJ39gq2P8dN8zGGgE7AjPCwVesD+QZPScyFkVJL0DltfMfk2h4ISVHOoHwNPi+KyU2SBxTT7imC4Xci/N1sfFqvF89l2SEPJ9w+pA3cO3+Z5jwAlde6gFIfAVSNviLijoDs7cuuCtW1AJGgvhr3TDvimSVlgEdL8aiwhINtvkVfoaMcbrqLDnGe7pny6Ua8b5JlsO11z8rQ2GBjAtGkPEJtiPOM24IuC3tIWYHmYoPLTnPTb2tDcWY4TQ15rghxAWGTV70UoxT9iFMqTy5uTN/D4H0RlgAFo1kh0tAl96MYwUvfhhxHx8xqOEy9+vhBKe4hRL3N9H+pNzShqGBymQ49Pbo/bDrvvX7ze6DqPioRmw9POPyvLMkPWu5MyCWbyst+MdXVrxXjUlBiJvnQqslWzQ3a3C7JsT6rM588uNZ2blDrF6HLCiILtE8J83lUHi67Z4hPNT/M3uceG+FmX4KV8pjde4W7deoxxS1HOgbUEuk+tw7HOUxX1JDtVfXJ1Pv0YS6EcKopOrLznFKagCo3OENd7TMw/1FvktoiIxCX0TQrqBNHywIXKdTO7TYmvnj+ML03FNY4FVEzo41XCw+XwnqACEAs0WV7XbxA0wFSdIcwta3p40R30uo+xCH3VD6KnEbjpHgoSRBUVNIxt7drGV7uJOADnW/jBiwyoznypEsFMBad9A1hb/pbawoOV2ptDCCJkNzYZnSfDbNrd2E5nhVr900OiAi+OnJ7PGkcDvGewb/FgTB5siqacIJZdeepjVCjKmZWATb6lOYZMT5Ryx/b1j1+BOJxv0TRkUNxWk2fc+ifEMij/T3au+S11DweygPRLGdmbFEni4rBX++ctV5PRyGeG8z3XUfNdoD91OHJioVK45Q59uPVbJh7Bj3Avueg9rWaeL/9LEAJ8BbJchREmuJ7LwLnSnyWSXC4ZmouK/zCsIYwSF4//TTzxMJwMpSRu13kibq0j38qY42FIdLnEneEh7JUC0/JZq+0SVedb1MF2eqLvlfBDr5sxf49KE9zPQfSAanklmEKg9T2QnBTt88YhF2EwgIkJD5tS9XEswZnHdr1+JEgdllfqh9v1u+KoSxcgmqFnRcrkQPKvWMbo0DvdtKnAtWFXM0lG/o2IbxV5LA+YPEr6FM9xG4udPsi2ClEKmENCbAzph6mMtI2kq+RfedtcFwWnnAcfcIxHIBvwLLk4ahmSC/DtxZc7z5tULaasd71bBu7j5M+dwj7fwQ0Ea0g/pPv/e+IdXjroPwN+tDy2B0Q2tIa7k4npScbfssjQrv38LjdF3rJTIKwQVnXyZ0aAQ1s88J/SIQkQvIjpzSSU4l5nD1yotK1pvU4HvXlTt9imC2WBl5GJP2SPBk8wKD6CYA1JdD0tqDUxVFZDb15hEs3/cXwZoSnyRhAWFByvsbqgmmu+hUVBA6qUskv4DvZctyXNoTtzZLSG5ShVSPqMeJ/KtyzqZNUgppmOoWpGr3hKI9vM+/f5UP2IbqQp62mre43o8hWoxhA5jiPlptEtqZRvvUfx2UwK5ux/a8Kyuq8SoSaGIWGwX/crzmxG0J17mCD5DpmNkVtsT917TKFzpMwg7rybjYzgKtzoN4tp36J1x6j7LFYVIZ2mC2dm77rtZfEgT44gemKE4InE05QHMuRkFkT1OAYS3G1v0PcBAGP7KA3QlPIXRnqMtIlTVwfGkzn261WTMCvduxP4hTuuZFrV4Tcy0yJ0xMuo/1qUnicuFF74gPsfGUOzd+Geq3G3vvLxyC+tlyXJLYdTuMkoc6RHkylaToao//DSuydEOlQCGrdwNRGzH6pMkJDud6oQMRMvw6QeCebRuD4sKHKfUxLSiQ/XPe7Ki9pKlzEXKM/ZVN2jW6k5WuOOoB7tCj3Axi74rvnWc0K+ZPaQYO0q1zhpO8YZXa5AuJ4GPWuTVLG6NQ3k/kNfnrkr6CCdB69e6yrCYoLo+BEGmKr4e6SsYk/Pe1U/xczvSuOvChj7MQmXmU+mRi55npLtruuCyZ4sqPFojZcvMJpzqaWzv+Z9jKg2evrB3bBHmrCwi6sGp3Q/vwLCGRyKIY+gxb24xdOSgHbazLj1qSQmMYJmOrgroA8dHzRdJ0fLatEhYr4wgnXzKJnJWS7DP5ILmUSOJSZXndWrusnDPbZcbIJRapghfqfaXv/hA/M8QMUS4/D45+YW9qkujKHQf0zfu55hTm2z3mEFvsZ5sLwQG/SfJ4dkCJmPQy/WdHX1RMiIgcKSv0sMbbDPn5lUL4Y9DKImuS36CzChsv4b8kwgWb8W/eBSzcHcIwCAf6R89AmZ8zIiH4UeBuylwZD+D1myrZ9OIDuQQnp0bffw3AzMVMBZJYofnS8CW7RkgMx1zQZxex7tsipDjoJ9WNzroa2Po/vV+Qt1G1pWcZybOGLi+8vTSny8is906LrTdFUF3fsmw7eY0kl9OFKQwUcnv6HwbhOU5KS7pdqwTPSi/o7SAd29jfEEJBjWFGBxJNLXk9eF5oQYkP71coopDKaef4qGU6oM88v3HlyrIeVlno50K+V88ds+/hD9z7G2P4/FhWrAGwnUh1QpW8tq8+vIgy6GQ6rNObnxDXJ7LvCUXyUBCfH22Pe1j3wg5RiFmaqOQ+sjhjvUX3ZPS2yb1zZUscgeMm+jM4AhaYk5ecwwuTJxR5weFrVLS8kYXfLK2UPUB3vsYa39LvD1+P3sC9GjzJObeM2njqUxTWJcoHXPl0hxMG1dy1pTlADU41peKvyPlEiLVyPR7SW9Rv338vlF7n50N84lhOpJeah+i/aZZ/ErPtcpyKWdJTm66rW/m2dUIjJAf7f+fReCR+jWZBmQfVWwdKPKzN2EBLRR9CxGkWIx0dBMkftXgQThORzd1VTJhkKC+JCUrMW2aYoFqQXM/vPB63Uu/wSKrh2E+m4PEBjhrGJ/mdVCLcNu5eoO7FZ3eFjiXUOu5jr3Rq4RADYiuLp87u53HMLSSF3S+pDA99AS2DQVasn7xprBDIm6bnUE13dSyVGuaQ8kvNtOeTaMhWOZWri4v2nrc+e4omMk4ToLn3ttMUSyoXrP0UuVMwAiq7pC3lzE5A67mBEji53dVUJX0KPuoPbxyAyePREPuyFbGxeSTSDWExXzO3z6ZxdFmQK8I/6E3j6d2nMS1BMZNO4lwsE41/w+H5wiBvzivJ4rJmjiCB9F+9avGLW9zFNOyfYs6ND5cm4acRV8u+d9EhvSJR+ymkGbu1rbEhsHeB1iQYVDxMWQj+8TEIdy9UI/Vv2jNh7F4drxkZE4T0Ay/WVDMLt6haH9zufBaMiiONmNDJ7kOsM/Vi/MKHe+bAIFQITgZKKxTXT6nReYgA5axE+O/gjRU9DDhFNgIVzI/Wb1TejZIQUQEEKs91kzkpdRjgmUyolA9+mmMqSySh9xQ8Y0ldOLfeRnmTwjwHOsC36u0ZhH3H9NOQWK87Z90yBkicdPO6/4XxWsqUOHO29IkfxQKMo1aPqwY3Uo1Im+VuRxDdN+9r/FY8DHTq0jXC36ZeJad4Dga+71OHLUnF4CamKf059HHP0pjXR7zfzWgFFTIbQv7UTN22liPReeLic/lHDdk0spOOBJ0MsQnSKM2jbhXcASvy+i1huq5f/+KIQx7yb4LH5YOioV/pG6kosf+GPXy4npXgh6oIvpCRFdFoQ79pTuguPxDAKDi5yI9kbPVEArxfrV/qOA1WyTUYU03kmHWgmwCJAQx/SWdVd++G4M6IjyGNogq+oYoUWrJ7HERVHSU40WF2gluikOSnK1KoL3dn2ATVF+Nfhekm7oXNgkIuw6aX1JZosjSHSl6VPPikUVALHTjuwTS9lgwOSqb8W6sL5tI51Vzen8WzszBbN/aqqgDN6TPKyf4KL0lvymWuMDrd7nEP99WkLcD1FS1NWlBzMoH/lMlDDfdvmb+DDYXG49oQQpNPFm2AYCrHqKCRlQKYZw77GpFMrAMkMaq9nCZ3vMBuNE2XxTjdPnB8dzvVeBqLUEtk91/Xvd2n56RIc+DBfCg+9GSTFK+BHmHYQJSgTY1si+baOnF4xMs2eHTJc0Z8jGdOzJpkJ0Kcpzu7kWi+jYobIg48/D3/yrJL62ASRh62LFyl1cYkRLvoI+5M0kC8/FRod045VxkSd2H1j7utljcoey8JFXb/BzxagJ66Z3LrIukCCezWWdilcAZQGwVxJ/F5/6Sxx6/zxk/i/i7jydMQ0wvdUzw6sd6hOP7KUS2GuxFfMwc3lXzvA9ifSY4Mbd2horyZ9GRn27y4fco/vZ5V6RnbQLN1mjXK4I+65aNghIYwu8oFY4Cl8P+BxXdVuegGKsDVyEf/J9QbYLR9gMHihMOb1X0Wt/814fDystMED6uVeBWwqswWQCLDEjUpbzDh0MJQXpScWy8QjuMlSlgU+0HgWgYW+KNQsU0nLf8G0W38ypG/pGORSM7cIsWqbxcL2Myy8yosG+6GDwaMvEg3oWh59lz5FBBm/wURCzjtJPOdgJSyTCWzZNfuGiqI86yRAGV4FRvePECTWahMe5ildAoZ5Mn1BcVSM930dklQKl4J5eqTLZ/HibH5G7IjpMcfJkWCFkEUJRUkmm0t2gBvc6Ufz8+rB0xZICwikx3PlCF2xexb8zm/s6YVXDtksPrBVzA+yDOiGlk6Tmq3ptWIXeQlOCkSug2AqZ42ORkb73Ksz1FA98cSm6n54kbzAjnedNKMhpldH6Y2dn3LnWvBQC8OO3dkYnZ0lm6JK8jBKXo4nGoZ0JpQZ/8AFiSMBX0yuzE4sSowvBc0pvpg8KzeFP2J8m/7+D1X73JqX0wHWS4ognJ1RP/HMGJ8yBSgev64R9O/dxkaRXwFEyzKi2W0qoFKdzRK8MhZfd9cIYcAoErCLmrpn9cu4Zy94gJR/fHeyj6QS7OPumjMxHcN4yMxX7aCqdErjQVJnzyEhFHZrn9/OLFhHIxnNuTukxVYKXA227HCleZPuBAhjPUr83hWXg+bWUhYDzQvcbl46NYBdG5QRBoHlcxSj0Im8ym0uQlVB/nXJ4SRVP2A8lg/PdZagdRYWC7uvVo3UEtfeA4BPaIhQpzTkyVR+H0wcZsJgMzTiKOWEG/EsJMuqpqgP1zGkMOGhsHIhGcY0ZzoTeRRf6PGXBaC1m8qziZG1JL+eRt6YFlR5C/59OsLl5Qpel2YZd0ZB3rw3X9aWcPQuelzxWbMB758WC5C5+e6C+3ei+BOUjwkHWSjlVM5nNYHZXI+xGvC8moGtqM60FQTDf0gqaBWH+A/mghE0QINObiWRVA66pdPhoSEMTO4G1ZnjYGsEZh2eOGd2vlRRKUa0fciYGrATTw0yyG0zM5wn70l5XR57fwnWmIAyWd2XpBBrlzSoKydSSo1QNK/lmiUYiVxonjpCdYEGL57vgNnrBet9tcQTb0veraxVuFAZLsybGEJzqCmF8v88SojQ5wyoyMLCqRxLFbmhqKF/Bw8ELb7v+OFGMoIoBBS2Ck31h5OoATpgJdZ84QuE415rvvmhpYrN+Zgr7Ge+cqij1/R5Bvq4WJdAZX1OEz0ksj4+kWDFTiKpdysZnGQ0qRU9CzELJuDyJ59rWvcOpMfJQM7B3RcbqdBo5tnctBRmlfB6iBtUco02apMUWPZ0Y8LIGPpQ7KTR03G0G8Mi10cYCBO/0MgfKzTVg3+CM+9iMBpzzl2SiVkGLWUCi8pmkElVpX/TR+A3xoIE3auQq7C50ACaXvUA976RjWxY+m1kY4YCkDXbRYr3R5QfDWgoQjO1hInxMFNEQqvdGS94dLPml4QTe2YuvJr25QlQX+9FTVWM7qQGNjTJm1zVkSFY8fT0PhtvU8T5R5uUVTjhp8PkJQFKBN908xcq12m/+UtF7ai21BmNsoFHm0iE7AgCgtzOe9/ylyGYZtdW97UliWvUsNtqdrUiLnN+hyXGLgzDIubv7409LaJTv1q3Uc2c94c/93YBKvoQxoVTA1kr3phHCotavl5/K/tI+SDu+Rrth8tqRAmmzPLa/bn/FRfd1kPIRTs1Xag45/bzsRpkCc5jJ8P6lK0i0xqYuWTOVnQqfCFnKroC3tJ8oqd2IsCS2OK21ReO019/wC7Fm7utrz/kdAuNg3rBOn2M1WTd3RhjbKJ5+L41IgItMxXNATabqqX4SgYnOdAB4+dUCf97ibCB9UTfelr0NPXrFLWxGjBpoOXkD2AYfk7VP90vE86FaTXu9bwF5Z+R5rUb9kRhIXk5U6Yt2D/kqllbyityyVZwkZYt4rFcj6O9zNvxNHKzGtClRRgVmtkjABEAoxgSb6BqqCTvxzHKHV/tZFwRhpKRof7ZtY3dwzuR/DGl463vCkyMM1448WnLumEpDamgtFvDd1OKqp9Yq9900srnWnJigZCxa5s4tw0ku1TbuTOk7yIAbjcWrGZo1ZEE4Xg1WZO8ISBzeufoMzbC6lPlKBAdhZydlx0ISDemVc3N0FrBHwlHo67sRGeGRTbWVh1s9C6/oeHDrDX1fmp2a2sTHoFji6kPPP8yQcuQaP3VTlbwj6jeP2KDsmbz2JQizaahcTXUOWx2DgOaes91zvw1PS7IkrDY0Lyeg+Rc/pouHbllDIo7RAK/zUq174wNR0iX5La1JRfhcAWKNp/bI1cowQF1fzQlYdC6VFKlBGVJGIHIxe8GLANNylpD//YZMLhnfnNtf+4G5dEVxASNcCT39aWjeKBUrQd83//HT9nz6dcBEN9yOiG9h8oYyVnQd/2Q/YXHbmRA0eJ0aXgIhNyIfWrh2eKifSugpnatDXYS5GWtaelNNOTtpfiy68FSZAzZx2Whu7R6QSH3IfEw0D6OQ15x26dn0xOvEGNDc6SQFBhJXXxRiiuLWevcwcuD9ufbralV6jGEQPCPhtzCxn+45MKaKaqL/MNaXsfWlB4/keI97O0cRugjt6CJPkdPWOXgY4hxAbMjpnHpkb8uLhkdhF6bYtssM63U75fSqmyb/G6h8oMVVDOS+60EIESIwgvtq29T6Rf2Avxyak5HsNFH2m7x6saKGemJA9hdGTP2q7e5YlWYf2BN6gmcHxd69nN0/Xdo1JHLUX+9rK/3kcPkVr/kj0oTwdffsWrhHgj51D8zROkCCyaSA7CK+4Yr76TMDiVLctzHD+NfFNQ0Aq8K3yQpH16bZVmaD4krmtOC6EQIASi+YZeKwa4Lk5Erfa9O71hSlukReqMmSbiT2U03MA5WZd/R5kbFkHQRjOk2pqZ77jLqKoal4tjVYSpKOaGVwNiFQRFGhU7n8FaMpj9X9z421QY5H6bvVaEaAhZ76vRtb/RRoZmZpPam8kjeTTxYCrSd+Hzel0bwp+g9egHJebmnaXS8MU1Q69fgrPdDfTAllDbpmzVrHVOnFBVhtlj3xjiHqvZl+dVOSLXGuw5c/XPiGLkNzpgA0LiGEjxLfWI9GXajzTPk8dfLiJZYgr5JyNky58Cc9EtbTsgoMhqfYMNeqEiRViTzP1BzvS820pNq3o7iJSpBM5KlNZ6sdApbmhUdpMCJh1pAPqb65fY42mwpArwpCoyAxdlsZifGa23exhwiPHvyICzAmzkzc5dNcBG/2zm8X/kE2rpFuq29xL1fWDChHiGlmoqDewanvPdEABJ1dTa5foythV/bXouj7/V4n86IQ9RbUCF5tjDODQJnHG+7n/0xWYIf2U78x5yPAHxPcXiWNgbJ0RfJF2+tuTWEE7Y3FVmvtfo6DPLGiC6D5U91YYGX/AKVmEiLs+x4u52aj2FUiX8rGZs1LD7zm8jh0L0sYaputP4riaTdu+uI5Yh8dnm0z4J9olZWKm78pvZbI0IIuW16sVXYU7RIoYNUvn9BCBkkAV47pa1BtrrkrlSxkFLo6lbN9nldr0qhrwBnPhJPgKrSJXQfrbD2wrkgQGez/vD5znkXXl6a3PtI7R7jEYAJdiINpH16fxXAdu7DeLZ5u45Z752flC+0+TuE6ZFLQVeZ+B1BfWrvBS1qyJU17Hf97cOzUE7hXvtVWsXn6JjSUu4BmkqZyRRhE4cBT5XpS16TlMcErpMLjf8ie6LiZ4Xm63XOYTxxGTkzIRb4OpRDZC0Q5j3fsDf2Ht1pNAzLncNnoyYBP6LBdUP9pyVD+8XjonPtsXkOxwl3DDNyAeTLiZUdmuo1i9g6/2W5phGwRNJmyInasMPSPBVvjv4JkjandAWu/dDrGkUnzm30Jtvwdr0/Z1+4wtPpV6SKKwRj4+VP7gomk9Ctcfs8NGUZ9ZgBcsBFq7iVQ7gfghMOextwoZikVJKPrcDOSuXlYMju/fDfOuVjBHdSh36Lr5UJSvcpJ0h4bb6T8vZswCj4sgQ1Uhy21pP3fXN3B1mCR8/DK1ZT4oLv8NZ61P/dbLw5f4R7uNN4jZTAIMYVnzxyTJ16RQvJetvKHmwnpMmfxWTkKxeF6mJ1Eo0vjM4Tenj4evNoVZQDzCpsX1oH8OEZYY7Aw8buQTH34kkYATDsVf+sxgxYJ/UXwY36CoEoeh1daf/cCRWK9WlNpYiIpZuoi4USUvIBU39GqMPDSct0nbyT2M/4MPsUDLuO6YSz3hz6GPbSMczcpUM67cCR3l5tWAZ1PgYQWo989uGYvy5ygcIjl1/ZHD/et6I2SST8drZTnCdfdGqi2GVC2Rb5KGSV1621XUaCyxvkEEZNgrN97/HXSyBkGWR+kX88pg7YAuf4tuZQ9MsqkHkq6V3Jw3NtFa9cxOSaAD5z48DCNNH0ggUlCMAvf4HM91UQPCvJB1G1IRIPZQe+4viL9/iu4eMmsEw+cYtkrVSquQsT28HX8qh3UJ73w+lUkldOL5R6dW+HAbjsuk+dx1Oz2L1W7TnX2TSq5SR4pcKGOL4R8jqNnoES6LGSafSVxSt+W5dSG5sxN7hReE1/aT3OJ0mBofYp4B9Xa9PmwVY51eFSr4iWrzMqwah4gXwpvo78j399tehlfQcaBIN4Nd3TX9Okn3GsUdA9w5BN0naoKrHpFhJRpvWc3DJNDrt6VNAEpJF+kzxTcVKuLGB2gn2flsxLq6nZYv4aWfknEk33N8JkSE7FGZMFQRVg7Psjxhxu+91m+JXM0dsjI6ol4CYuFgSIHBF6oBDl4xfa/lZCehbAJbWz03/VWgCeLfzeXxSe6Fv3n5InDmsSMCVIDfHe9A2XBV304nSHTMOAU3unB6fSx5fkAWWqT5I6GN91oe8DVkeXn50NbNI3iwDzR1L6pJk9ZNrJy0KIckkJe9ISEseatFai8NHI+vgkJOahgkk2aXRnJiKlGfnE51gPZLVRI8WQ7kUB62LfcabJa9Qt+74pBTJJedMQptC2KEvHugJ5AdQ/GigWf0oqI2BGtqh99Q58beHO3jZ4KnkHdSYm1CrpP1Qefrt9Dtr/HUr2Dc3rKAYgjyuGd4GI7UJsYnBeM3fYxOEFF0SLLaKTSzL+pK34BwWLt6796HC4VKEuV5CjJA51ehjNQB9y4NgVGplH88RwiD6kbK5eISldNeDV1ZrO8j/TLfG77G+NgSAjWxKGh+C+By7WGYxSXruGasTRgk4boidJb1ZRoiKNDhpPwCBqpLhWvvHb3G9Rk01/X1K1ePx7RG7yl4/XfvIx+MAaZgsmy99/lXfmBuyY2+DPLmB/cIsXbVxUC8CmIy2etK4Aall+gyrus/+bag+jfaLVPaZYpCRWYz4JkCd9Irg9rCtvmxryMHbTXboWVUuWxFR53RYi0Lr2WJDtw9it2QsEtSqwcIURoBHXTFXhBaPRB6P9bD7ONOIEhvhfaDgGK0WcbHsp6H/NDmzouesCji5CLB5TgHcnfxAJ+ijXbf4bQvlHSBWZEnqYuMRVvmAarAloUTBAagwgaokkFD2LWutsxDUyqEhhCGqlyqr+0cSkB1h/nyQKx5plyme2ucCztGZboT+FeDMTXH9ul7ftl6Ik/lbN4bDPCh6SH/w+LT0+2Je+kDhozXvLypyQPcHwHsyqh7RsKEFjzg7yp3o9nYLSu1pm6oIzlXC7Y7wa3E6bKNhAXoRu3Gtl6656WqyhhXRbr+83cIwlTVBy/eA/lC7z8JwoVOe7nzLq8+SNI0D+Jcd58Eg2TtDUaFnCr/ZpwJMNRrXAHFef+tTUJnLOk/16qY5cX9/3kA8Qkvp7wYjaTrjHM7Li2iaNakK46uXXVZ54opN3eGoNswKwOOrG1pAV1/vZxIiHiqY66DJ54TqPhan4e0w1A0iTw5FqPpkGkl9pn3alaCv2im1Abj0v2EKZSEswWAefakJV0m5SxK3uGPgOChPKbMO26wAIWy4EOTKKTCef8eeW66IqrMm1XQnWcfxp3dT+kM1jw2yaiWNiqkd8kVQhG0w5JAF6T/j58q/IW+DhWIa1MqGolZ5paQW2gR0/4qLtcsDt+OZU7f9iYRgg1oydCNT0uvMTctV+1q6b1pvCpSv0Tu4Wa86mvFnuHdMa5DerNeRZIUc9jVz0mmRk9713+RpBBiFG++m8UndKisvwNbNsmKbtQPu8vdRT6zXIqdlwYiEfyOwuQiFQHKFMU9yrIQxsrN8ANJdGNRBEIiBQGKcsxtEfWhQDhxLwBZ/k9LXh03svY8PPta9J234GtVnMta8nn2gTAx1rnchx/pL2exaNRxgCR/349/phwxKIRMlwwOkTKNy39sNWRffoQvkXwy7LFcYSnJ4Wk9PGOBhSK4Brhkchh0UcYwjMSHU7bX5Wa8PXsQJU1GJZ//MufJt3Ji5Sbw4tr0Jtx7ufnNsWhfrar0hNilxmSuj0AL29PJU/GNLd9ettK0U8gD06nQ1iflMd/kg3z00Z9lln2aoTCkzP+I9YgeFMdpiBplAMh7Kh3zGdkaxajYeOdpV3g+F51rjmUWcX0/gsVVLpXeEzKrBoAbt5y0xqCBYoPtPfL1rsG2dr5JNh2ifwLk+iOFJ/Bec9XmypNRs32ZfITMYTnyeCJPLsbvoQbn1YF5ZIt6S65csvQdDT7OiDw48HOlNuz1CNL2Av2xqyJh2mHqueAVzZqDj4qZu3MgWMNRYSmvgHJ5mmkglt4P8xn3gaU+V67++pYjr0m9zG8pvDXBzAH25NXnUHVc2mojIfoFdzAnWF75bbOYnlorKBI8h7CqQtXIFqPOiXyPV1IcU+4PDnas+VQDSkrw74yIsmX0l2FMTHrBD6XfAn/qbl8ONd3/AW4DtCTgzMBhhjjCbKRwWGN9Kkq27Z9cviP6Ck051oDNb6wVIlAv0x7KaM2TCvRqfncmXI6qoGxrpHjfF389H2Dmc1ZnsjxHrmb6vi0G1/NrhUt5a978g1NtSwNgtGT0db3auMHPTjSR8Z0EUCHMQcJ9QgUoCsHFX8rpffTD7zWUZMdFs2YXjOY03RPBVsX4mXv6lSBhsh3KxC8XdOw4/5I3BBngHUDrvqDSV2wT3Oez6Swf2j+PEmR22xkAQIp9196v4dF7KagQYM2mfTn3retf2apw0jyZwbPiM3IqVHIp+rcDx9VfVzXRYFuWysK5JsXeWOWpp90echM98uVwMKEwGnYyuo1Q1VZWYA7o3zXPG5NIbzloF3XX9/wJOdSg3o90oTojl3yE644ee1nh+c/8f0uilhv4WTFwW6tjeUjKWIwX5mzJDwYl/QV1mOQ5UzoQx7X/FJwQnk9N1p3gKGDnmMU6CX9Ebkilu/0UtYiNg7p/Z43Cy0AjE6sMf5On55AnRLWTEuuoXItf3f2DMj7ghBeW3y6QuuA3bCasGqAyAIo/SzDQHL1Zf2+PX8rg9dBzNBHhUZ4e2FV0thKCtVyYTxSPewbDnUr5PXg3FR1/s33j39KR7YoOcz35VtAzJPTVXyNcliS8YRyBZg1LVA8OSfVgi2t5SZ4MU7n+fAEPGNOSKwLFq9Mfbo2GS6zbIOE0lPa3rdKaXmBllr4GGXtScGkT3k+EgrqoGHg8p+uoC0oP6Hy5V8lhAlBrUn8Qmel0eczWKr+7DjcsWi6NqnmAr3OZwec6x6YgLUg6kBpiJFSPj/scsqdZWpRHnrVT4s+s21HsR1vPuUenjx3y1K9sSyesa2k7AqW/iHF08xP74vhgdUFDbTHHGvudYRHmtLIRF2I2XT+AJnfPxapI9YupO209k4gL03ml+Hk+BFrsKvryJW7t0gmEHUcVAZZYZmOyOeHX/SLg1Z8aaw64wCKJ89kk3fhiMpCEeqj0rBYgAgLZzkIEb6srFGX+X5aDkESS2mkOYdi6K3EBYWsVQObH9kU2ZlwDilZOP8ra7kaIxXY2u5McNwMqMsY1SUg7uqR/FfTecTrJCFdrU13r9UtbmTIAnh0mwC3dZvz0IUWSZQ+QsAVL+/rqpxtdYVB6pz7AVqeZC5THX15Ibb7ol0ySQSLaUKkay0nEtLSKmi6YVXizANHngUX6i0k+6WteytJ7qMRFaXQ4eYUWJ53odxfEOufRzLwUx9+j8il1ID/8NIMPxtYHTZrnh5g9vtnps6EfKhQtz8txENwdnFkcsHPEnFw6jkWeT9RNQVK3Mr0RsNvFP5BktrK1ame/0dXyX5kj1ufALEuJdpIuSEUKTrE8soM8/OgSq2FGrLPEfiKLGlGiaY+xthM9Ba8/L4qpUjXw+4r91pFoSFAPNbrRK5JisCtrtXw+CFF9Fzo1fVD9LpZW0iICc1oBKU27hKxi95DI46/8RkLyLLHpSwvSBMzxydH4RDe4LsWbzfK0p7MwZfLhEoxzV+TnHNP5jeFxMJ3y2CNHyOKQ407Fwwyhyv3LnwwZ93K4b7vFPkCm0SPhNDD9iuPgp2GXUC0vSz0+kcqQfKMtIaA6geYSYSxgl0SHJgOA83DabsiueThAckV+zyuutjuRlBygL85OXF2sPMxDNd65usPySySSI9OXuY8pFyo0Cn7fvBA8ujvKaSseGfzkLt6pTGtzPigHSb+OTyihFSc4k+WVdUko6s97EKAO5tmAaKNu4j6dQJOWHFA/e7VUiubGtsjN0ml1iZLbabIUxmL0N5b1bjxWQNujjiYK+xQySqtU/F+Zq7sQvsa7y++RZ4nnbL1j+DJV6U1cuDsNWJ5NKGNxwSG4Z3Jr0hLD0Z4N4cCe1bV3ySZ/VElFiYjlrQ/87V8Ke7RPx2KLYNWZeNz0JJxZbpPavEpSwuePSj/lVrfQ0ODRxI0b0dd3amP+V7AkYupH8VgTBBvVpJaB64wGibaAmfGYxQs1nBQhtg4mPoVAUVhM5BZJ48oEA+wUuorafJQgbpq6iqAvjO+fpXaWh6QuBbXlXL3rxLfQ0DBSha3AyN/mhT4Dttr5LUjsAVsm9ayF3fKC2ravxcI5f09GMLaoEw0B+lBtqN/lDEncoJDfa39xUACBa3vrblfPMdHm8Q4aD6YJ/mpxq1IU6PZ83H2VaS6SbnEi9AEAISlnLevzXGi4keH4VdYtJicP936Ubh45Pf9UHL/Md/u0896eSutaAyObLNt81j/BZqNMxQeV7hYVacc0SWNmXYzQNRlPk0o62WI4PoLXa3ifWGotpZaXKAT+xE5l1kUZ5ZVrGjC5nFqCn0J0w+rJQbDgSalTWJh7vLrqlWEwSF6XdiblJQWPVFZy4lmn/AnWGRDJUuXLSpAp5SUiGrlcenFeh0JeB1+Xidi+GILdvF4tsJiEwRmZw/HSfSUThN6bKjzYFw42MPqTq7RKbPLYT8q0chNEXfSnv9+N1NyqNDjLseNLeT9Ee4GAeG5edF45ik+TRXb6xEu6AhQRaPK5dS/bnBmkyF68PwVyBDzew0eypkvnxZgQMAjkzlQLd+XkU29ZSdwUKACMdCQKZFbNzjq6/4QESOWQxprzgsSlJP6p1dFYrAI/b0L20IL11TZsbx34Nj8yQYcRsKWU0WKoy4EbfVMAbReLDYlgvSd8hxQEGEA4X4S8o7vU266ec3hyrJxG692Gu5vm+MwLAB/UuPiGoM1QkV1AOBSxTY22l7ga7IK0l6+Oa7srNh0PVENz7FJgmQOfacFDoPjG43wApvcPPx2jxr4TmS2bnE9X5OyW4BSB4pBOB+1ELWScOI++Lp8l2eHSF047wBxkoxT0N7+z6YdX4h+gjA2dFSRvlZvp7mnT2MjlQwsKoJs+qUOUVbqN/qn/hN9ADkuI7Wo2FjZD44qdIGIySDgeQi8avhVR6ouUgyQYcc4CHhyyWPJWAdufFUcA67CyypFw4PfEy6GW17seeJZqyR8yJ8mJ4bCHS7a0cfp9ZvL3njleCOmitQEiQFoAY5muw/NAEoE71DhuuPgFdpGWzcaFv4AVSQX5n0xH+nLeoE2ukZ9sWDEBZwR6AFdlnyz/T/r6QHpDXHGfSHRzJ9h6qlERypIMOiMjTB6F1ShfyWSqEMbKiX4sJSYQGJKZuBnDPk6yCpXMIUaD0EiIOBpMS4yRc4bOE05cqheSlyalKxM5eUxcJxYmUcWSQ4RnmHmC0KqayUHYHiOdaAxkOzKf/01oZ+cj9hbwmzRgv5I25D2nkYqbXw2cMX6+W6EvyAY+2LyaQCJVotuwLTW/E39DP5PirfkMgNrh/eLnbHnkm10J9sGxxVc3oC4YtpDXcXlSAUH28Feb0G6wotsgnRNGTBhatYq76Tac/c/XvF4I2tQBpMXdOSOvXuwG5k8NVAJjOavgROKwVhlD+KKtxZPoPGQ7s+/3pPusCYvq2wMZUdO8BEZfqyzw8sJQaH+z/3YXaN36D0NtzsFKVTMs7ibfZthTTr9DlUAF99KBBXcE1hSmWQ0A2WxC2vt/Cccsyq3TjtBE7vKsGoIGuJDE8bB0VUQAnn7qslNeuqhdvQjEru9rrgR8Q5nhHe6VmaW+ASAVCwwpAApz2axwZgpmClxbwJNFT7hp6sYZHxaKe0qAfEuyFaYZFvXXcOuLsTJw3SbiKDcME/XyMLEjCpTQUGDfLDn+Qa33SzBKSB1Acmnz1kh1lLaErI6LQ++yO3lJ9iPzJwYxR/tW0qGpEuUGBzLj17CaFHHFJVEQ+L2agI8bhNmnWE7zfYZvPU3VEBgK05Y3dQwBXChyRCT8XpbhXQGodR3BVBCSZ/DS8tiKfsPsBJ2Vn8p7U824DzquoJB5Ysv1qSwC59HJknrr7L98kRVhUgkDEisZyCIhSW8laaoqg196mB3kbHDi3Uozjue5GhOHF+icSYZZ8NiK/aTsNhJ8EZeuj+bK50o9r4VkJznLBY1PALE2KaspbMd8RDbPcG/0crg4iquzxHwv9nbcOO0HrbTgwRTJkPbSYrM+FwVIkzHc5RgxDjRmM+mT01CKyyjL2I/PEt2VBQkvU0dPY5ZBOI3m48AwL10bM0LKJ70qx8WIxWOiQop+EOEEeTz0Z5igMAJZHMO1JBwGmSN5z5UvE6Wl6tgLcxKYlG6aGKhb+kO5HYejXGGUGJ6rfeOLOyyjkwgw+iOZWPxNAhjrLWMN07a41fyxipp8R9EYi0h6Jv42LojRSMbpMuZHaOqYU4xpasojKA+jWHO+XDUrUHuS7bk4Yggcoyzs/XK6PwRqryGmgLN+CS6RGfUq9idoqMPo0fM/8KWvNf/oe5b1ATlIvu3Xaad90RrNSuBJe/792Pc5j48OM9711epoEkodE9Tht+ilG87tHPQBnriRByIAp7oR89zHcQcXufPmq5dMLNbViNdoNauPRNUlZCGCEqOZrvrAog+oalPGM4VfQ/Qyc1ERCLNv0DJIrXulw/DRxkfskGpwZIro07/MQZIHSYul4t39dift8nrEgbKHquyCfaXOW/dJpOBG4WetGYfBUuUl8YjoYMBTYhtPc0aVyLWQ8QPqo7Ie2qUicTrcj3VBKaHF+dEsO9Lxp2+0hn1coVpXhe4XCnxo7niFMTNctSeV+ywv/8YoZs3MyLJ7n+h9hTPRhEi0zhwdPm9WljZyAs0j1eFGQ6ZE/D3xH72YtxyAr5Cm/qdAUe1Ru22SsodY+mS/0Cau3okImmKTcwvovRGHg1iVNk4UiWdDl6swCdJhCizTW3PJkSledOJ6l+IOkzxGMf4sPzh9+nSDSpzi6utz9t4sJdbIAsDqacP8LhKrDrjwli7EEdnJIhy2jpHKIm/3L8sPIoWjQGJi87s2T8MwtTEUxBKityeqgZZJiUWoUCD2GsEYETIUO4Nr6F28wauTidMaTaHZ68022SqC4O7U5vHgrskl178Hj1YgXQr86YHLS4QBknbm1vBKQrvhKieyFQNayvN4jqkixnePILlVdpIksc4IW9AMxgYhZpS876QmcSbq6ex5xeQB0u/LeV5sSiA8kF9OcrrMRg78cb3IzUywRsQ3MInUc+cVk5L2FfOAZHmCR5UZqAgP2cxaB2HrBm0Jp7EMOZ8h3reLSlm01NhvpuJsh/S5NAgPSuBGcWjKisaMS/LUP+8Ypl6JXEtI7SCd6Fgl+V7f/SVZun1sCvRXTvkqIEoaSIMGEMWwRMU1SN9ouJP+je18UmzczEQaoLx09MFGO7OlDwjkg8Q7r7vZs0nK8wjVAV9ECJ2fRkLL8yZto6vvQ9QdE4JioFNpyvaXZmOM970DIOPgKSI0iPzmp6eCoIbtBP3c4Qcf92IqVVHU+FtaX3q37qkJaqdj/z2TUWfL/wVFEZAOofhEhfEtKamDAo8SS+yjNFSV16JATWHj+eTgtfvqSxBRWe4DoN6fW1ZalsPgbhoMpj4tUabv9jeQHQ63OWWajkV5HlriNxLBVKYpyO5NQt8sIcOJ3R197Euj1hJdykoqfBRGaydPAe/t3QKux8XDfw4biubOjDUEbIU9oHH+KloDPNs3QhnVnnuucmmAerErro5OXtfan99Y2KtBmOykbV6p9bUZil/18iWsIZNkqOVwyz1tKKWNxpD1tqc2r+gnVkoZldFYXEilLyDZi5RGyyyPOUhGTXZ1uK0QBsYF7JQXNEEarLswwA/4vtfmYj6/Ps0aO3ycp6RO0+hMSo7PC26AvUQAfkOSe1wkoscHMdxgoI6moI2wJj4S4Mp2v/yuMoj/ywqxuW9s2x7fTBpyqfR93TbrkxJ/KlbIkGftpAnLM1Ca/Zy1XjCsUwQe3U/rrUQIng9kQX2Skga7RIs1cNJlWjUV4Qm4A6x1bU2QDMrWhDA0Fa6gMnsi9j6SOqSHN0XiCdYt74ZQL+WxR1c9fjGTW3JqBJhO/tChnLQzNLJvWCnZ4RPhjMV9eMUBPY3Bz0A2E2YrBWXVDMCS1mnCo8G0DweOF4/WXx13rHC+jGy8Mg/3mS5OX8eAk/C/eg5cwR6kzNwyDTJpY19G2L3gEZO/AvxyvW9qvf7an2USbeHw3gPHtQ+Ip8lDoE6OCmADbjU1E1XLnD7Ax9NATZtFWn/90KcysYnPZ0sWdg6TzBnBF70252L9Nvr9Bq/7D+XM4I7JAyamjJGckYnet22BnAOkKIOp+N15Lnp/8f32ikVarvZFbbWhZEiNjPe/XLw7bHcn83GaYnHutNrjjHE29ue2n0qHv4s5UXlAhKM3PG5GL0CyMFlkKcbTmExlMdAsk7kicp6hXKrBLhmTwC6/ddMbizkOXaD8aEOM6w0q225sMNu0b9lSLVb69h4obyHDCTOeZ8GN1yJdxZMCQXw8BvTJdZmZ+WunnJ1FqYKzuY+d/enHBbk6MIUeJz2RcZeah5Xgk1IPaBOs8hJpOqcg8yqBWtccNPOW/1D788jRnNAq+rBHt76b03T49Ov5O3IRrtvE+RKc+xrA5fXvCUOim+aaTOA5ldImRewicW+NH16qj0ihcVzxb4MRaZxvgXhXx76iTAuGL4MejV2GaZo1hMWHLUo96kADdeyvQum1iWu/dexlG4vRcLsgTaVE2jkbo92VU6yLEtQAJQ6rq04mylka2znO4HxsshlLFHqp+SupotKsvY3EGftt9Q5jNfigpBqWRmpsrSiHk9vPgCgnUZVAvxdGQ7G9hXQkP1sneovkxlimn11A2ODIF3g6r6eoSwT6+GxX0VmvlPYzI55VdrAcE71Bix35aa/XnY+J0gkN9rbHtDZOiE7tjogM/wcRbRZgp+w6HW2JKQUnmaQP2UdN+EJE0rIwhNXlPX8lY5ri+tytknkv/LfPmtpAkqHNkdTNBxAntpNhFutkEo0qPGnKuALAtWyTDgAR2DT/irdv7JYdIUXerjS8rd/mIbP0q/cKQRaerNhEQSz983sJigfl1RyoNfqFM/Ax6rEK0mtSJKH0x1unGtgW8YjE+oW3RuSC4OeDl0P7+ob8Pz0WH7+1Wqlv9bvayUR06tZTiOSH+VMFD4Hn82ADd7XA5tTecot4+rESxNs2legZeVTja5PElY4fz1/m44FHkDZ+uDh4tTS78MMFczfuV4NahZsKTcD4aoGXe7Mne7rQxPB6bamCzOGoOjzMYliMcu3xOZP2mOcgsxUa7XSSa3ENx8cd+NdiioUT6aMGMNe6y+KyZja45IcEQDU9XNvYmepH1eBOD6Sp4Af/tblIgjNk0EUeJcoJJ/tGvcCNRSwoB1Vy0nSC6zPLI3x1sA1gGsx1+Mb90hYa3AeDHKr5YIwnHYXMTi3xTGnuQDDO9BqrEDOV7F9X8UzfOhhqfgno+yBflR91V/l9Iy9PTTfjbL1+/k83ai4IGuxUSY3vE89OjmX/c2vrnzf5aew1eFTvSE/wxC+KZkImE2vp3tW7qboHSws2e9eb3FkjEXVM1rDHck1rzXLr5Tq16l18VIdUPd302q/1yRt1AoCxhjblQe4/nA0UPYGTnOC2axoSnn0Q7TvV1da88Y+HJ5r+chQjbkEe9QjcmSK2TwFww8gSenS1RHwvRbGRmLDcixW5CHD+7aPbS3Qe2zTdPxPvKseH5dDcnql0MyZ75rOXz8YUHSn6CHiIyQ34wIP9ONAa8Zm/1y6HWeSB4VxqJEEECNl3O+lVG/DBfl8w5fPaKgs3ZtrjAroklfL86RfOKoyaK0rFkBNgorcPEvgxUfBkOExNncWfyqwZLS5f0qNjBb/ozUns7J6I37O1/E28vum4xw0tJc+dOeAzDwYr6RRmhXtOHwaf8j2Dtqm6kXcF54usQTw+BNXV3c2Yi4YbaEA9NKEJdeoUIha3142rCaPtpqMaI7/6/75Ip1lHPU9ZH0rVD2zbi8WQnr7qJ9MgANjM8f9sgLyhO0dGwH7T8WKhfm/24AbFK1Sj/1sH0eRqhxPIZQXiz6Lo3qjBrRT/v8fsAT3DgVs5M/n8eej8iUZIfeOh4V1g2g2i/4Yn40MC6daHTNAdYvfBQKvUraRhisxzRmIHLPO5GJhWtY8yLchR2PHzuCZ+ztsr7YO38ZBx4P3OZrTzI+fjj7Zl1kimu+Yj1MNxUmHw+xcy3YAJmGSLXmrmT5ypIbXX1sNX2KvPXawbG+Y1a4hzNmvxuDoUpcl7iMviBmi3NC+IuL46Kr9xaJ3Mmfn8QB6HfItTsfjzX2Lwnpa5gvNAIySfH4C8A0cbVYyoIVIoJUM6tNj2kYkyh4P4ikNopZAMbgFRd6QZSdUBVj25+TgeEYyTllczNvtyoXT972SiAaJ6hOflyPcLWk4eywv8l3cICKmRXyFAKNnPqKJsGYj9p0OKEXwrn9DaUU7qQpHcEMyEu6oPHvpTMtrJiEl0EC60OiN9J/j5gicHKJBqQHkuAqOYbM807YC8dhv/ASOSbYWso00ucl04dk4aQT0JMzUoYwKL4KLj3ENx29xeAoiQLKMcRYyw6lVLds899ezBsKA+sg/DuI9Vlbbf75Y3xFYv+tdNFg/M/R1yKMszqoDSU8kdkN6F149780W8tFDzDVMynw3/szcC0Of+8Dt226ty2z4pUy+uETgZURi0P3kmyITpsNcvNo6nez07aH0xwuXfEzX6aj133xceWqLpKkNEBCWBCBYQt3S2XJDexcWFA0p7IwLQhVnk41sJRZN7LlP6ECuvuUC4yujVyugobnwiFSoPLeEo24ZDh71QqTo1J30GZaMPTFeM7aegl6ex461Pm6EkkwuHzgYdlcKQVk7d5hcUO6uYIz97GeLCoK56oiV7m1SKp4MY6n89R2VoX0KB1vcU7hHACr4sHyyURttIWu2VxHC+JzBiR2zW5ydHHbV3HYLDhu3PP0UGTK1I1Mehje5bKgh27EK4S4cAcOcZjnNrDCPWgWK3/EU7zM6lerviMlu7m3IOCZm1In/9f7WtVss6PMeWc2WqjmGcdHPxWLumi0LJMBU9/5P7SghvsTQHNuj+cgjVHM0Ejjo+YFx2q2FItVmaOLrDCsQC00AFIpRNw6pCokdkx1upgTR4hQYrjmkeMzGlvLLVQFt5rYBxxE1U4nN2ctI6stcsmI+gc9duBWeiOHo9lSl8Q46amCWy35KBJHXlkAziHenlJX7LwyCr+JPTQO/6RzOSdGFaUjV/rbLrX/Wpu9jS/v1yeiCotr4snpOH8xnrflrLIJMqftxXl93WAzY/gSBdqp1xc6Uvl2WMi7O5ghZmu66luaWin2zpkYhseP0YxVcAiMnssswChTTd1TdfAL+2AESTlbAYUnywQWMEuR/xaT0Ij0T3PO5VUm7/2YpNJUIZIaUhkp+tBafKTZ9O7lUbTuX8Jx1eaKtr3vDhMZ2EIkEzu4ywxXVVi5fEfjnFttvCEVVc5n9tp0BN4o/O+J99OeXFHUPufcl7UKjly0RU4z4Qx0X6rbJEuW1yGDfzxVbuN19I8nyEJqAZZ6j6WSF1GkECMNEJlFTdDZgcS+vwFWHgJ3zPc96hRi0+sn1AuroJjRnt1tKT3EEClJrdV4/ScJkXUolPnZo5Q4nMzOlTEso1+EcZlMQ2sbNdEc6hHl3uiS8qv+ui11qGcAhT1CUbLeoAT0JQ79Y4DyFFU+6yQO6ZDe+scJpHqKDyQFY5UAbVMGf6X2rnKWjWKvHBN2/3+wJvaG0fjHMDQNIk5njZvttBx9XPsM4u76lnURDG8CKuP60NKjvvJOHIGpVzbzatSUxvt02ZduVRDyFYa9mL02ipAgU4tT+pqXychxP/kpzHLacjY80crnoJZHLcEb2DmMPP0QwEK4IiDp2CBS+FMZeDcl6Qzm7GD1THZwY8GJMvFt+AwlpdNe2zxH0ay/sy+EgjHLZS/zHPc8B/dtLisXs1sRY/iavt3sWAswqDyIuWR2Hz0tZmRwrbo4fDSIceXM4JOiZkqhz6tLiHN2dGodfIEqTf63q5JHEh+3IJn1tTBkt+H9mH+lwFwnByu23eJo/9VzNIQ051xo4qjg9CZJ5sJ30u8T7giaGToVsFt8sEP1WzJqYm374Dfu5mknLyk5le+NXiIhjApelCHUxkQsDhL77f6qqIDa9PLbBAS1dYkSOyRlNb2NxVhWYan7P0dfECTMtZM66cfxCZiINzeuWlFg+qMp1QBfT8bxNanW5LpzjzI6OL3Wl0G/KCvqGcE+bXHhMlADycq97GYi/eCzoc8hs2rPw1D/DeLo8zcOaTWm5DYMyecu7ufleWLynYPqMdgLYPhmm9Tc+47rStIYQn/N4ikyq+L+7IZMbHoU4dF7pOKLl/PjrH+ja7aYJWY4QiruDxdqg1+Oe+zCcg0ewBFUnPM2hJ1WcktLOtyFrVjUUCPxMsfQGIAA6z7TXKO2yyA6ySS/YzgvLR4z3Dh4mEoNlDIS3QX1u12PoUeRXTT42hxYcSEUUbAbqE5yivsLPyaqimXMxSt2dWZYPnSnMQ7vxwsX+JkeYwM7A3XZwVVxOhCLIktp6m6FxqWsjtY5fuf+r3PznGb/pnqVIkoDZn1XyczOfXg5Z91ZkiqheWkg1IHJ/3NcVSMLcPXjVXHqJS4WhEh3xHGv7WapA2O2dZgmY7in8rvRYIvGqVeDb1N7qRObw2kMnqdS8t61WR7R5oRJSc1kfZ+lwOlIyudxbd97RpKShjfFxWBIPLeBjE949ULoGPt/J8HFnXAWr92TDT4oQrJ2oYYlNgxlaksdgFJcMhgovO+nXbltTdMWMwMonGy4IFxKeIeEaGPDUDLPzXdZt5ch9Ixs8TQCOjX4ELt9vDDvdaZc3ZfcBhnFGuzArXhBpojA1qLIEmXW8uINfWnQaUVW9IFYz2UKJCAbzJOK0lk2if1RIby6CAQcXbaEJ6JK0jDsafpvn/zuPt890cs671bI/WPv+1ViMVNnSmq4zn7uvRTIPdjT4IP9QQ1sH27UsuDHHu+O+FaaJ7udBAOfTylDUOk1q/GiQG2LNEuZ3Sv7aeNUtfRbkxNwGplVMTCy5VmmxJ7e7+BMhgSnYppEm1vg8mAxq8hxKgIFP6gNzp8c3WK8mI9OfHavLehLjL80R8+ehlQ3s336xVw6AwhPcd0m4gVcXgWWfsdzzdZFk1VI5pR5nCVFjktJ9iENQ8O5JskNFU9eYRoBvdSwQbiqJh0OnsjRYsV+oQzElVBWqYIdWDaPDjG/ahx4xhGqQNxaVRNLHgTsnpFD+Sw7XcFJvpWGvboHBZLyQRE8FIGzYpDn4TyjaJ5Y73QxzWN6awvVfOXOrFYiJKhLKsdUcrYkzjR/xNuoOOTrRrx8bSAJbzRkPZRHNwisbPEJdW+mW3YbjQxM4majxNg6n/ih+g/JzdDOPqQXPEM/ih4DifklcnBtN/WeU8qaP/0spOh7qltiP97/Ix6SprwABau4NFfU8DCrClsAuBSienTesFutMl1hRPQ2D/CP9TIebIYP6s13rjMzmhT5mYYmZamM7V1hGwOZC1kFj7ZlVBJdM0HjwwBVNWqmEShhyRhaP5lB9aFggSJlK7mlbszKk6cenGcVWGL2oTthki82rTklZVVyNAAvEot77JlvYLVm/YcDf/QxSXJh8y0Ni83YnV4XdZI4/+B5vaDMp3zmmltDAHEUBm7gnjk2ahdKgoHqhD0lSgIxCKaW9VzlZ6Xu0Fk+Zxf1A2jrUnoLmE3TELnwpahDcAIyGUAxJnWT/w/A171deUhzlLUCrDSw1j/ehKwS1qpi9eiGlit25VjwHxLTH47vaGZ3Ozm6HmjdfttByEzFKx0Q74CykN0MAyg1HufSXzewJ0hMdKsVZC/O/gK8f1k9PHSk0buS/3NAXM2PdbQWhodQ9ECFnpD/A15t1Pl3dnSKnNZF8icy066xXLWus3D8G8Xh8EeDuv/zef6sKzO7g6hWRgYsYaRNF9nOEaGsYfEPM8SnZQx48wUtDbMjqlNP5fyGzCxpPod7spcVEJr741fgG2uMLe4Lq9XYKvLA9i94gCn1DCRnI8C51pI7OQHhLJzlfFZhKIg0zjAFibjPQICxSJq+nBcC54McMjcBHY704gSjirrRIXDxG+kpzC4m7hedimthUrTdr+w2WVxIvHUaaGiVje6kVDr0wbbHpf1uY36+SmNkn05ItPkZHdVb3wD7gVAF6YIYTJFCVSenQJQtX9/C7jljHM6HIvsDZ5RzIEbE2fCP36GlYwLiwPne/s9R/j61LxulEHHpFf9Bs6+TLB1WLTtc/AQ0QOIumGHLGcsrX6gZKN7Fu4CJ2ZJWxjyYv23tSfkGbYXWmXWvX+ct5WsNdJXe9k5+AXEFU2ygI2D4HKdssFNst9gQ0/NtJzG9edjDsLl3Yt4ZOljwTgT25xaJdE/BbxAk2yHlXF1oqhiO32f1CEuJyNYXsOdRirbWrzBW48vA09/VPFzNqX9LUrSdBPvOFAQ2daUz7i34v0+sCtDrQDZPX4y0F3TghskxcNRqsUuGt9Mm205O2N+7dS+iqH7SrQofm3mhQfPXPfvEHvcOPji2AdehbwFRWygxRx/Er1ACpb7I7IO2Eaipe72zicHRpiJ661waqOnFYYHc3uRwFCbXKPnSVd0MiDQe5aMXkTRz6gohRct1P9vudgliRHESrY+earicz5XNFz8PoAQEnq1G5cvhgYiwHBi9ACpPW304Hxnzw4kcfbEFhaE3aW3UBjXQWEUNTxgNaQx11hqS9TphK6J5qGEkncXaPtZGf4IYG+te7eihwSGp3/WJqifE2VCzMJwitkhF0X2WMLVlvXEDB//MhPA73J1qj6LxKXy3o63+nsWUnk2V7+bDoA/25RJ7ItqquPQmMzmb2liB921DepXfNsEzBewqLAdmcMarUI4qyjfAtCCC9phDJ2FO3cMr+K8rlFEKVAYMpi/fIioBRlC7RyjURFrIXZZaxkrLrvk7UzuCJ8gHYOP2FZaKhS8uhfpznceAOi3frx48boUNaG0pSETcD1L1CAYpQj5LepRErMZMXLKHftFPKO13Exj/SM+Wl2f1LdXvHmkmG+4Hw9gGAxqefhDc5cgR0Xk2fP+IcPYZuYHf96xTdQiamp9ZtNmu4EKY30kOlCB/3i+SwV9nE8UPKh7eTR+6ZBjdm2UaxtvI5V9mxfmztCiAFtOBbuD1MLy9HnfDUNRVHjziK9NBo7istmwtdglZx5f8P7OwsIkQHVyDglTJgNKQSiBlwxQ0b0uQwMDVCi9KY8I879LTkfMMQsqhERNuLAKze3fMbwbwtLfOWmcpGS93TbxVeEX5kj2U/I4bfhBCBHZuVuh50YFlq9OApkqzwL/WBqIABDYK1PFrvZh8fB9MytluSZru8qYoClpueZh5bvd4ms1zwacc/YMyg8wE/u6iTBof0ENdnZgpbuuRvaVid9VF2dhG6jihWjarmnu0HFflNE3Wn+8lBnW+Z+NTp/i/aZbraDYuPbpD9127/WgORyLwDAT6fwxJ8Unsv0Cao/mbgU0Hz3J4kmyzcgObGc8imYDEttLTdm9JiWmOPDybMRXSI9vwmvqfOidpVpzzUp/cH6V/neaSIzu8vZTfo76P/u2r+q4DG3KFby8GV8+uxfCtnVODFKsKPwBUPJIppUte4bfWbJH2b1KiluQlft2YEuMpQrLYswHQaJ2Imr38IvdqyMFZCrPIJbmu/RNuTE4F2xDG9ndITfHoJM3mUuuSwt4quOul/5rj0l+gvMe5vPMJlXupqqn4YiDgcqJWmIZ5aNpnkVEfYC4/s/xUFLHDaKHZChSmAQBnC01YFRM20vzkfCM8IDsjH75Igh1MQjQNua8C6uov+E2tKxrt4WWP+PjSjs5m8SObjiXyMZz65KXId3VdKwrO8dDyS6BmCVu2+XwJg+flUExCkqApRh00GYBsZhETDlEZpgHa3eKPO/nZe8UX/GqQa0zIRwBrcZD/0F4IEx9KTT+NPsZyQH4xx/nI6Dp2LBxuYDiFg1RtnjG6wM25vTgE5jhR2sI/GvHQrYggph0YC8wxYy3hZpK0LT6BDKn0e8aHQ6YC92g0jfj7bBntremvhTPyh2iE5SHTmUfNVph/KBSUU/PcNcD5Kq1cTMw5fnfxAJ51pzvabPFWc5f4MiKyiiuA/uSNQ5u5bNG0I/MPdO+B5tJNUnS4ODtR2So1qJsjUmhjTvh90lbKVJAa6bnf0WDOyojjglsmyiNrONvBkvBY1Hs57MiGZ97444hw/Qb8xou1rSLrRwar7PSxB4/sMoJqnQ7TPB68wcdsA28POdYfTfLt5vQioaGDshx4lpa9iy1LY74nHu2mPfLgXesMiDb5yyzIAw32hDDy3PMN0lFF2QcotjM3CI5rCreUArxyYJ5jcIeKvyUOpaFLatIoZQVbOqwzfcVUN0sLFDtVGO9zVaFijE7rNpE77jSIXkY9adzx+xrV0dilNYrZP4lTw/Wi+4mPO9lUQy/f0WyqAq0lnKMgnBVux3rXDvTHKCddEhN+Of2TTaBAvnkE0wq15YbPIxzI+1UdJuD80qo/YbPRuKGv/czxUMfAtyKk1WmSX851uqGIEDGY+W5i1KH3REnGCAYyFM297LFjNUC/mA90gnY5XwTYh9VuT+6wYiJVeYVYJrFe61Ih7Sp1BMTkYg7eLDdR0DJpVpqG8Ckd6RJs+jrHNXizdBKfeiMOCXHYOa5B1OwC1yW4c7WO8s6pprwr8bSmbB0dn6h2qdpVfnb2G65FOImVPB3oH/g6KCRvGmDe/2sC522sMzeVfKF/0K3N16FelSERbtCSwdKHDqtFnOUQNyji6dfW8PEeSuhW8Nxi1Z1IknDR1Au05sG/mm+E4h+liUHKgCWrTFey63+JmsG7hGaxCTGTAJGvoU9A+l61cluYxUqmHIAFjHy+QB9sY2eTNzMExkpzE331XKQ9YZx6ZZzNByTh1/D3Xfxw/bbBPlz68SMEI0YH08fGp7PbKFaHiUThstxHPW5ru8MPCEtimeTQKGXPo17ZDtA4PZgx87112xi3DCYus477AbbMmM7udl6zAx3EIQNJLZ6jhcWBEzppX8SVP17WNr2eQvOOJyDIyQQbpV2Wx6uxcfToDT19cSKjwyN2YsEii0f9cmgRBozG3qU5YvPiVkM6N1Q8eU6sCVpmsc3xC9K55LbX4iVzfikQ1eoSVRmIrm5kpjAnb4kpJW79QBfjIIBJbzbIs15IZw4uxFFP06rj8it6h4LXFgt0gOFq/Sc/9ydj9D3lIPRN5fUyfFG+0oKhn4PUObC36cH13Me3hmvnlr6oYmf19VtmfWJARQquK4WjcX2jJoGlLyCtTijFP78+FU3XgOL9dRHK7egLTA29MlUa6C1vvwBqGFu3u9qOg/quRalKm0Vlp28jeHMiKwyPncqdm/C0xbfRwtu8+X6NXG7a3mC0WJwF9/tg5KQ8zHl8yyrkBH61kia9lTKErrW2jLAagnnQFoSEiLzfRorN9g+sPcoTlHOzQB6b/1R/AW6KLRQPHq9jkhahENowJHAthIKMOxPLrOLCKUFCXv5tKOEyLgG5CPJg5jMmTZyxoja0GtQCk3SADdhEfW+pjglkDzx29Rj9+MGHxlEKg2R2WZ/EZnSv1xKBrBtkg2aiGpdaNQ9U+FvTiVOiWiua4iXz2AlRuu7DUbnFhhoqNdXDg55FKLUEsjC3EG0YfFmPOhHX1jZgZLKYxjrhu586r9bmEpB8EodY0cepzt0uGElaIb7DM3v6ijge9QLCgLopBaAbKjoWsEoAy7nhshcB+JxlWbnUqWzmuKidLL4MmIM7bVTaCwYoB5wq54Gsl0h3tcvD/hT4o+3pV12sWPtrXybxAyLCex8x8JpBvJzc4KakaCQCKwwZFIY+knZknnGhOrwe9yFXEgER+FIEdsJ7ZdL9iXuIEURVolA8mMSE3IqAeSb94xykwlPIhFl8aZkS6yMoq4xiSORUNWJSFgfsYSiV2uFEYnlm2HSw6CFPMPh3PoRsqlzlOPkiP60ShXXEw5aEKj5cQrB9/HMqoBJtgs+kZamAXp8z7iAcUs2Olc4ZPE/E/zqd98L+cuxtmL7WjKnIjMrnzKZYV9qzbhduH7TySyoKc0do6n2kLjrzk3ndX87K1E6LFE/bBcvI7Xx8yt8b8dtji5lWbhWD+utqyna52bibPzXxyB7uvTuLYDpt3fqZhAwx/dqKyCFr2ag79CzmydXFNbmqflkDTwE+dxHmRi1BN2NlsUtdNUIjfs0LAOuz7ziA3LZ5SnSVIyW9yDhyAf/hUuyipbAvl2a7uLaBbCvpSMIs8ZpX4EyojOWIwkP97t0l9ioGNm0aP/lG50wvdr9yGUeHhQAZx7ijMOL7kSWkxFw/1yocbfjzM5clWZEq1rixYbge6bjK+UcytWHrjfx/T/JmLzgt6uKAYeBruSk0JujkkUk0MpGEsOp8zFrm8XC7DvBSgT2R50VmtdObbC2wjS+/GLs6iNYw8hwawt/8sV10s5a+EXulJ6e2wI8AqBGtTDfmmbz35ycPTMEuhkjXZqICiJPzaGF+8rbNwBb0iVuuweJT+RjsxleN1VZUPjqePyD1lyeq6K9VJEJRP34cCT9hD5bMT73BIesA6EjqdcpKlptWoBCHD11ggQl6H+G0t0oqiVcxcmxUUFere0aX5a5QHoE75Pb4vaKf7LFqNazLBJda86n09zOqjMJ2nT0UndXjtScOfzlqIR72IfMSnv3Y47yjq9NBPspcin1Tup8z8w3ihJryt19bwqeT4PNpYVZlpg+6mzRY88RQ3Rlnk5x2q7s4i1GctTGnrIwT/PblJtTJHXzDqXkf9JV4RMja40qVZlnnR4BtCHmHj4gCzwW9FbDev8B5alBr1IkrJpyXk2rYEO6Yod/0fzY5oftPd8q7jC/13Hql3I8qTQdT9zsU2Vd3ITGGcZWC0a6gyXgIEa9LgYlBi76Ra1/QR+2rC5ESsNP6mzZ8f+Ly6OD13dElWnzk5Fwsumvg7q1Us0lhrKlMET9waWE6IcLXLQ5GBbvZyWZCzZD1S/+7ZUxJK7gJh3zHOK29V0FUMd1p2LCPqlU9m+/TFncz1MbomehuXJXI2nyyK9fHwn5LHs6yNffQL+iNd9///fz/eFcDRgwDrLR3xmN/NxCBPmz7kWIofp2l+QIdAZPtvyNFvbJyfOA3IY68LaovFe6kqI1PXUI2N7OZ4gYapZOo85m8x9jQki8gpIhvt3J2Yvbl1YDLnp+EgXZfusxYFM1zsQKf5/Hy1slsSSIRmwkQrDuhlLNLtbf1aBm+aQFrAdDbYwIcbQTUwe/hJ/swWMCzFKlQHxz9PGlSqFDIBFODc9DaECcprgCkmkydwJ5EUR2AVZPyqOp3wc0wz/0ZMhLRL1ZFZE865N+HIPV7lUO8zyxSN2IQXvdW+3DaRmnsrkONndBDCTW77hi9Z94agO/7F/n0bawp/U0GMiCRz7XZ83AJVe1jDSJuR+Xjxsa1WcTEqw0kmNF1D73kADDipX4RXGaX+e34SpT5xrMA8w13ko0oE/9fpPwggjN22ocwcxvjlr8VZ2aMDWmwnkk2OtgnLgLY4zAR7GV2XVXzBecYqNMYf5Zdqf/sY9bRkkwIfeNbRQ0XAu1hWWTZ7lmw+pEXyRvwAZohrdQhV2e5sD64tYa6bMaaQLpmbh85U/IfosHG1U8pd8NcChtn54a74VGtBUhWBWLuGltgb3QfegBiUmbl43elXKT7z8JahvThT4oyA0XoJ+sUW58dDIqytBFQ1i4Z4GPW9+IMzrzbQnZpGybeRsnFt0jjtWCHszg/mtZr1B/vNkuQ7WRruL7/06oSXdWHQMFduDvw0YvnmlhbcM1z9Bl5SYeOSEh5ZOr3djQdQVlQGOpx2OrsWwYx/MaENNtuQuNXsZySYMdPvoIbBRmwpG7i9gmeleU4LJgPX4occFc8GVLrdIlYUwprH05d644Rh5vOuaqa5/yP3t4YyfS8m42rU0g6aR33AJMRmek4szXRdi9pDdeVHnAPcjg0zckDOfgFeWfkLsA7P741eRhHzs7yoyRJgRngtQovDWnIUH/HLCQ6wjJhs8QUA3W7cuAZiyyepOEd/Azd7w3kYtpi26OPrrZLhISSqXa1TjiuKxMRvGZpew20w4CowwVO6oBuyHaAzKtxiaDTJWSJMlNnkyZzbKgDxDYfYsWeptstQLj8dWDQk342RMFU5dANWRkc6CuwYrfhvnvLmiH0UpleIiKcHJ7uHJ7ejNFe7z9xfmYpCymWQ4jPSbF0RS0QEcKoQgBtdTSARbcwJ7BkjjMo8GKL39PVVYQdH3e46CtW/mpEDWHFdtdTEHhz8Z6mJg/c7f7SJJMoYAFXFvPX8CILQE+DLthZWKQ0tmJCqfH52vR+Ux2LoJqtJ9fF20MgxacSLz/JgSrX9xML2ohpTBsgOdn65TK5HsHnYEssixvwP/DYzT7A/7XWQHAmmMK1JKSFob1rbzHo7DV3h1y1AR7v5vraLt+FycE3mZWMuaJN+IJrJdf8v+9c4YL+bdUjubfAsomPNZM4SIXV3Dt1XlQCyjz1s+NwEQTV6Dwno3ua0VU8YZKxvs7+2GGNMUIewFgKx/IDPVts4WXUnbr2wYPjL9JuzqaNY2+dSeCZJoZKngCwmSQEX/ZdqYBUq1dJwHVq6sbivOwXjdLv7KLcYgvA2prv4Ux0OjMdneCGeVsx4n3hmO2aVm0d2U9bpakzxE4I4aqycWAB3j9ZoeG5uJX6cnPVJtSwpyN/nXslfAMpEAHQrUcIA/dViWYmHly5RMucVCCM0Z6EP5ZcAlT/E9LUi2ng+F/MFa0Icb01SOUqfZmqnZcCkdoU3s/D1LnVuR1jKMoyAErzam7IxHMBUuaBu1jcTsy/5GaImLmlOkhYwd4SSo1BMOA1oVjMoaIrPy8dBsm8J5h+4MVWIwnixBmeUw+edpRtAtn2jaGFtOOdVpRa0w2yUjKtSAOwEgiWqUbyEUG4YSBa7xu3jOUMl7B8Dm3iivlYKWary3bBpLVInmbifIx93qaYmDV6BFc2+ixycg5zy9VkdWdrNv1/13IGJCu66DVO2gyL1ZWtmYRrYuyHQWJPQWvzMSEJ87fjpnf8oIIATCY58D9lbuFHQsvUCswZSAoxRat0clvVOMCVa0A8TtiQq+LKx0opSxnhwfB85myQPpNfCIre1110hyE3m58Fl4Kpp1Must3kT8DON80iQP6KErOCKkzK8EyftfHZdVXegbi3Yit3ItXMyQbkc1LpDKugwACZT+0HnCKrr1o92+3jlfEJuf3f9PRLBH6Z0s7o0bqoxIv+RJB3f1BfFHlgakxdSgVLrvpc5Th8s4QN6IrJhucqIAG5uJ7EOYG5AJpNpb/NRx7ZQORLPrgxX2Z9DmTN8mfqdjzlFbXzX5aqzbLq/zCrj5RfoD+5tOpBWG24gGkl/skEdNfZjwzIYaBPuZdWg5TnUaR50jGAa80apXKm3poUwyv8a6VqtBYP+hM6NQlkNpWnUTACJGWR3KoD7h8A1mjivIhFfo7aiKD8Fnq0969z+JdqxgSXw13X9x38MiRUNwXAAsx05nKHB1U4KSeP3Vyur78i/CVxkeuSwyKdr+c0aQfU9u2nIiffHRyNTiVDdwU/oZy5+wdBQHSl21D4ZchqYuyT11z31+zEyHaOOMyiOD9K0Z/4lbExJloaTjZS8dAW2rjujOuE4/78e3vt0P8PA1YGQqXyUhY2G7QNRk0GvApsk8cQ7fuSN6Bvn3A4ayTZQ2yuLiW+UXrzkw/H3R/UYfOj87Qxof7bQy89Uoe82YLw8x4Xt6xtXMUDVHuKcrhM14qsu16+TynAfR6IorVn04tgBllJaO49Ukh8g/v2l4NQhZ2lHJeOllJb/evg++l2yZDZ6ztQrhR2IRpAeTROEQhXjD+f3eOmWJTXko4NRiVxKKjzkRUSjP4cKqhiZkszZyHBv51Os9Pj8zzskjU5dD7ILphOU9JVRYxY+LyPsRlLYbdvPfKzpXxu8ywJa8o6o/zhZjgOGurzElocqWohfG/ScEA9wrgh/F+XHCZD9WA6YfbNmq0sRU+w+ktGUT8W4TZ3CxjKAs76DsDm/KmBZMe/DaX5LhrDnPF0ItMUfWGxV+SuCku37IKe5MC3fViI6MHxVvxpGxoE+nnvAG9+ORAfqO0zJZtj1YyIS2naiHknKgOIEzZxWJ2W0A1PYduRorkkSnQQNlKVJ90OlDbQuafmYo3aMGeUNpyiIyRsFQ7Knyc5aA6Hb8HhCE2oCJOH2n8wPVvsvurebdzDs2K+DKXMD8vlUT2CvLwTF+DPJg+BWaS3SLHrV5fzAM7r/Oo/kLjz/F3gh5EFyzBJFFWKiP/Gl6IhVKrtez2+OC8b7N44dSjk0utb05sYNlNZKMYHziY3vF9HqpFDTlp17domRI2Jb5bHdRWwvTN5XkBXbQ7gGs2JVC/i1QijO3mchHc9yzwAC+4hBss8Fk9uhL2OscSdKL3QTPXwSHG6riFnxBf5lSFTWUkwf4mPdX8VL5tTHJOeBz4fKVYilOke8nFEMklk5KUFe4wpTa/ZZwr/AoxeujZTEldt/bDFaIs2n21UVG5fGwh2h1NGJ4dEcEEr/iqOE/WcLb0yvhcBHIj/vOp+4xCbE7ViiAzT6Cer9BB0cyueXiPtSeMIDCTQYH9TUeQ2rGnOP/pJ/HJ+ZVil59TMkIuiLCZBVrYQG6SET7Z3Fi3jtKk9kSyDfBPzTPfpGk6cn38ao3XznP/b4Yqm9sNHgBf9NrOtHLRUixcIimapXcgYbzIUO6RX/jpPjXls4Idq1kQRR6wjmfHhOsTSGrpkUn30atrVfx+LaNxp9S9QF+uFzc0uhKmMeshAKfxRYq66nG2znqfJANRCB3YQlSd1WQooWYKQ+YDsxItpvHDu170V5s7Z+lRHx2JFJo59ChgWX7CKt3UVA8IZJ4Jp1B+hy54CMaNJZkTMTyl9EgN1p6wIEj5C6tH5d/2CfIfFzzxoRvO4mshetD2OKzi2YhqHSxJRipW/41MyFYIrxb5fHLCy5POG5TCnSMD2einBeaw/Hb0/8qH7mP3yhcdMxmd66mUXF/rDSSqY/Hh1r4NjV9taCpnryDXecNfSdYZTQMQDyw3iYpnZj8ktR+ipgEBPnjDILCMCY007/AV439L6tcD8IuWSSjRTMuAwX0EB8PKZNhjoaqwH7itJ/w+JtedzvvS1QjbKcr/IhX8n/NN39eNTN2qJd4iFSBORwFm0Ar9CPbgpwmVycOx7AfQYXjhHySLJbqSOP8YyoSGaq+ZOC9yUoh55nGZdGxfftgolzWCZEGRwgbhDV/Nilq9YySE1lwiOFIinxPbZ6/XdnLagU0D0a8jPvEkdNG/TxlalNdphT54sgZb5cm4yp4gK69H4+DAml0WOS9d6raTK/wV4e/RI9RpuyPnsIV2c/ALMAZRoVCpH7ZXMVWpjPnke4uo57RYHppYy17slgt29bFt6gKgftoMWcSJYyed/UzTKZ+saKfdewwYug43xL5zc0n3Z4njAx+xGbEPNxQUxYVsEoucjsU43iusG0YEeTIJVCLR5t0U17BKEVsxCsUJmWTniMh/lYJHNEb18dA0ThxUH2pRbb1ZPh/kvzgpHc423zqoeIU3KSRzUSuJiyBDIsu74xaW1pkR1oSAogFLaYM2j0Ln4qdfiTWBYBTOHGxRJvCbHA7htVXHeOBdvQ3wi4APtByp7D7VjtNC6VQzavb/uWhgC6+UCbrqJdFjQ8J85M8Vlz7AQ2S6FxCNDPcAiyrNkTxHX8lsaf7bFQJ0ddS+hDTKBLAJ5WE6MJMIpo7EoyYm4eZCLAQNzTyxF7viiWHc79Me0YXj2UTva/N18oKKCM7mc5zqaU0YQPPoGqR3Fkb5ASXVpDUkSiEHS2bII96Su/yxc+9V5n+vluYT6oNrPw5kgSNVV3V2yTXWFxkiH1qRiK18QFm7zTCPZyFTk4FxY4o+GjU4PuzveAskuRVhqC2YQhDTt/O82y61Pq4GLKpQdzRO0pm4TPQf5OHFboIcoIC922lpRWuQ7hX7UoFhrpj7R+laVACx9C7w26F2uj1ZpkyPP1vVgnv09CcpSB/NR5SWigUb5itZFDzOoVH6HFVpO7X9T7hxyqY5c2Gd1Xjl3tsPgz2JDvHw8CaOpSufipHPxrjrerOJkH4eE6ktoIhJEOpCX3sQ6meOEzMaiNj233vO8oHcnXZz7CkUrpwhEI9seQAqcoJAXz2YKMbeDWC/Iw1MtL0TWcINBFiBbOhycqx2O2Y63Tjf/j0NLkoQz+WQpNzwAIGLMau8xMZKGSKfiOgbwgEadumY1WSoqf9UtJTUxQ5UDX6INF6+hT/KJxvi0v+rwGrEDpqNVcJVZsbov59GXmTW6AxKir7FfDq/pVBtyqkxI4KK+vzNOA7718xQuyJtXiK+M5J7dX/2Ige9CA+NePTxAvF8HzyDwFCHquxDt0FrRfmCAxRTwOvEnEW/sQ1hKg7gzbhQ8NyF6VTdVrVGzB0bwaZmrmSaw918Xyf90La3M85p71Gs0EAAOxlr01+8RfdNox8oJ6339Y/aWnod4FshPgYBKqUAe63iX/zB0aHRQgvExoXw8UwGL2Z6wvrMY3szqNj9Ayu603p3r9uA8+TZhvqmG8UPA1kVcJi6aelUIyxxlNBpfe4OPIZVVh68DaCuQakEZvq1nysyS6L4xdL7/yQnnGtJ+naz/pqZ6gW0w6GJWRtLJXbvO7r9QRaBX4kOIoURUsbz7X6zz4tFDQqICDq7m7ZqSDxMD6dcU2z+ngh/Mn5YPMJvqS1ul5cPuyDInrVysJ/vNGH+QqT1Za40twRhN1PsptEaU6rIgsfM+egPkcH4LmYf/zdxR6SNV5YdU0bLuEO3zvkyUOH/1+hQ6Shext1zukWEvb/jqo5WNX4NFGnHgLivJjF2C/WjXZT8Tdms2eSlz+HMeNVbLmhON3S205i/knaOKNSmKFr7ELqypwi7XlJQz6PbXE9DNgRggygzCRtdvG+m4d2XdxGIESHHPTXrdPsOMh+CyBhMHdfGZMw5uQubMaZ1omBOybPPsVrYzmYEuMx6fmTZj+ycRj4K1a3FZoGvfDbZy+t43LsrkVNf1SdJVG82geHjFAqDwDfugfu1b6VUsnbsdKQPBbgImGa82/cTYUjFJrNS4s2AjtIsUhDmVezxXf2e1vMmNpNvqckjYojAbyHB8d6oGbE6XxUw+dxH+Wyzf6xx1ANYWkLCWi4dHsPPqp/NMTuF/MiKvgEQDWZJaRglzEGvlAuh7X/Cb7Kksc9S+s4opgNohhJUaXkoUNVuCp2glFezb29H631JOLZ3CAT4GexGIsOiiOYPqfb5YF2MRGuKYAoVhyA0saphVtbecRm0DzMAlqlFuTnw/xLVWOX459Xg8MlSCwrik+vefkIswhvgjQNN+vEeVxtTNwcOCaymLi8iLbKNp0LrlSVamAxBHzXajdtsZYhq2HP43IIr1oCCHZl5thZjqk98Cx80N5TbyoEEhXCgeme0cDGtqY7dAWeelt4o+zRsZ8A8YmV6IU="/>
  <p:tag name="MEKKOXMLTAGS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jqLMMMTprJfiFfMfF2PNjqv17fihSZHpStDl/JOAZ2wI38pPu1UA/lNs5A7hPV4jh4Ks9EDSos8em7nPrAzkRqlrHalOq0JSP2eSTIURa7LkwmscfGnojZbWptcp1mRPlCLflta9CJtRcgk4WCnsFOpw3iSn0iqWWVnRJoASL5I0z7Al/YdCj1NDPz9H70dFT7dN722Fmicmg6oTNCCEPyaamRozw1IsD5cKAf3YgDI2+bzHOsZ8TMuomlyIjp8X9aQziRaP6pycIhjIRR7q2eQ5hCOX2NZ79r+UJfZQMQXwR8fest6fFA6QgGp63bfBIx9Ckomym3r7eFCa/Sn/ZeLw+n3hrDyxD0r/JpfMIZdxcCWZ8S1aU9mLpdKrXe3eyX+++ARg5bqL33wNCHQDdgziXs3fIM2m8aJ/CDAbJerbzhFMbJAEgd+LYKMzyhQdkWb1Hwza/79ZM6q3e44wbN9kX7h2yZJ8jgDKhlCaRbSPiOJXC57Rp6aSyIGFtGwOEoUmC4860VUyl90RSPofnu+vasrHo2JaR2dVq4bk5at5Z5yqDLpxOte7JTcYkRy3Ws2Ub4PdocCW2tP09zo0IpTqrDwx5ed6Bt0lohppnTpbB3uGatOkpiE14Fh34dK+wyRsF1XFa5kQQ2lYpV5Moaado8OaKrEtJY1crTqYd4AmtInpxOJMEftw0gOLxh/Gd7K47iyePHak39eDiK7DWR73OdeKSaL9HG6EfO0dZ+YAa2ld1FKmdEoUGg3gdePEY584Y771LPLlby+QQ1PQgjkG6ansBFn2YYqKmT+S0n2TB7mTLzSBlJCtZ0RbIDhob8BYXhx0eMJtC41ubxsXjDCgAH0fQg53DXV62udHQniCqKD/YOIU7RW6z2GyilRdBedNY3kxecP7ORMzAx+qXcRxSf5JTwJ25V9sLMZuCql/scG418+BGz7FiZr3fiCGyDCGcV1vUtZ3h5NJRmRWbDxJsG1bTbMY2eCk2dmaS/ld/oMKfnXYesCnFGgdqVy9cfw/IyY+1WvPNAxHp8/dzyWKhqwpCs1VfwUR8L8nFZ0d6SZVVPs6vRA1V3C8jpW5kn4sdKAfGHy/6fkuWF23qDhiyqZdf8LqaUTKUoV6m9f1+zEqPP9O2tJebsG8plkCPXmTFF110R0AHjWponC5v/nGA3OJR7B1a3zpgrpumPfIcwpkf0VrTeMZnFFK7tTEnINjn5on4DF78KNr+7YBKm9kuXVGmwV09WzEKaUHtNhYOKSUzB42kycz1amh4gkpeRFZBevbd8IMyqbl0Bwls7tFLrJ8SGtjt9V8plapLDAbpO2ah4hzmbaA+sUoHfxOEEkvddzX9/CVswIMbh9Dw11M3KLTG/1pXIR1RUmKuLJsyNfvun2hgjZ+9OcUdhraLgEL+pPSyBxcG7yMxOwCxl/zfmTwO4J3IphVVbIzYl7c0LizFxT6nnbn1lVoHm2y1oznTzVuvFfJC8CfXWO6SPn8reADOVDeXCcNNxYYJ9s9XApd7DIf+MtpTRwAJZeYC66EAtu4YSq+LY2IVNnzXdBxScQLU61d2Es4m3o5X67s9KFctSQQbN1KvvbuH8Q04gp4czxEGXt8VN/RKlCkMr9cd3r+t3ksvc0MVw5TpvBQdy9+LOaYxtd/VMckUy1XxCPEJXc6/VEZz3azv4lFYQzwEvj73rnhhtTuNG/p+9d+dpw2/QssQQX0oWMbULHEAJFSQdRHuQxFZKsDFTfZqFi0TybYQExDarY41OdsfHdBbeq/FC/KzTGWvqAKAe4pSCTGRtJK9hvKin8Jdg3i6f3XwRONGNW1WbrxJdZ2C6PBT8wJ5FNSC9ltf6KNKUW+4XH4zgFg3u9GAUX/+g16InabArXwumBUhgF8hEFvnahYQemHt+holqnf5Qni8F1Lk51tD2Av3kSbaHo5xK/RLtOq8a6cAnZtMmfkipGlG43rE57okDhSeO/Ni1cxKq9Shf8uUm8PIh1rXE6frkEQX/mZATmM4I+myfGE4edq85Es+pskAN4QNLhVK7rt9wnqVQ6j7X8fIT7rKdeqvf9BNViC0iaCKgqaSoC/5Er0SJjKdJbeVnLihCmALzqCmAoNTI+90q8VsoGu95YjNsnOz+RsRomxQ0BYQhJpct5JsqhLg83WIhNjWT9eqkgf6rWRuKIZKu6cVjmQ1zcNEg3G/yTZcvW92u0a22dSVs64KYNIfsA7L2tokl2jTFw8M1ReMQghTa2UYoUGgBxQ0s34RJRBws+SJ9mJZKZVtvFx97l3m31DljTeuj+Jj8dDU7Ss3RJY9PEzp2x4C5c+s7R9P4syxWptqzbXmBcJwUkP5xvJGwUJ8Mk+diGcpAP8Gmfh+BOwM9kbcutX8lnv74ptORc8c0RgVSINXFaAV2nZNceWyGDBuqJ3uhuPF1Kg6jmVO9cRfUfynnAGEPQG/sAwq34xIKLRS2NoTAuELqTv5A5DBEqYdGA2JCmWxrYY4wemoHXEj4vWKzewBo9Hc/yW9KucPfg3Pb/Jpj0i3960k7XjavPIaG7jzH6/JLITEx/TnAwOwwOPLL7RoKCJtq8z27I7CJu4OzMDm3w5Z5OYAt1l9cY/Av78YPyqaPl/YqQA3yVqX7x0da0pC2q4ZRwYPd0r0+ei3XM1k8X8zQkq0o+zP+3qY6y8A2MFUwNo/TYTJ5OcxlMayMQm7WNQ/XLhBVkOwEFgqLd044mjDIXVJvLgbreGBZvx0xIYNNFFfaS0S9Vm5fr76rPrURncMKpkzVUzk8pi9+IXThkckbMgGDDhljdMklCJRYN8LBeXMng+gAI+B9GnqdGy6iMfsQJikszALQCo9Xxw2oCtiCFnE+xIA2ZnfsmER/0gpMECQ7PhRYn4ZPNeTf+vQbtjkn0MdR2m5Jm15xoAOLBd7ilLZr7e5DdTMfyXac+WkSCPHONg0z8LapdC893y8Dd9dTWAsR7Xjh/pN99n3iuF9EIfhQoLa3ro4QeqZfk/zyXkSxZfk5tgr9z9InltUqfl9BJAmkuZ3Ge/rNTOTZ7/arRsgX4IfKFlfT08+dRz7UCBEtTMPPWE9/2KV7BGxi9UqyIWB/rk8kwazOLyHrtD2j2dOwfkOfHl359J+/cg/XEIIMzWJGiyEHFLD7T4xFX0bxpMWbS7RvCsTbpp7ajm5ErqZBXBaBSbAIFaCe7zEjBk4kywezw1Dvm1+fftab6ocqu4mgMt0c9PNiW4MpCKkldQa+6rDxe2r5zKDJIknJOEZctq7lsz7Et+RRr3t17mKW95psr4pgy7xsH+tlSR5zdqAD4LdE+wZzumHwK8en6JETRpDDSDlBvuBFPz/tRerPl8xVpoz+88pEFFVuvwbtHuxROMBS3VUOgcmbFZpAKBu3/kDfx28BXq/1lK/FRt7SL9/F8WIBerC7Q4dLq37fW9UbAyaw2/7DsIXhiJz0bbqE5jiAIR6wwwt5OZohMrHGc7BDrFF55ry7oWkWYG7OOhtv4SK/9wug3PLAf4j2Z6XKCSo3IkqFlAKuJ2n8spIT42EN2XJKj54N3n3gkNcpSf8JstEkjwABjcAneeHR4Tb2f5vR6jq1YjLtcJTDFJOY1ecNl7rnOp6GFNykB3UvdMq6U6Qr4XVVjDdwjADCyoKe/TtenVwdvkCZ/cVZIAsIcOJP6y/D7VDLMCJ02lHtU7TR9DCMxg8aEaLyKmaRUEo8vboVWoJjD1TDv1dyX8XrAzYp6pk0YXFPvqndADs8lMUK6a+JrUVWEJyzYS9FY1s4L590vKkd2ZLdAPk65ZEyJT3bku46gvc8MlL5kPRrz9Wkz6TpmtO62nOOLKEA4Nh2CHkhAnkngW63lrjseqDpWGi/65qTfgaFGlCudkt5uwCOt36YWRqxGgyN8IHqTOe2Mi8V6L8EhO0wErzgdwUELpyA/obOdeGXLmKPo6sxGaVtm8TOKChlPyVvsYM8k02myZscZW2GeCCyxx2Q5BUeGZgeQNfzzBzThY16fTx9uifhmW/LNPslYlbFM3DSDWTOKeJaK4GXVm+mlLo46Z0gW/OcUCrwH4ntdq59XWqufkwSmfKxaBDuwZQhALniBSke9oWlgylPRO5jYIeczfo9S4t3kOE+KBAhXVam/NMEmyoHAT1WdjHdr/yay514NgV9ljBSL+3vxphCMdO1Wm7AQisMuZ1UKdcDV8UjtfjQVYtzyIShHmvRaAHIXpCEIrpW1ttbjw+CLITWd2J8rJOwGx/zFso91OdBjojTsSivVcIEMmNBViRkU/18DV64zZ2qgdCT1VWsi9JJqEAhJu+f9wZfrhN8RKGylcDiR5aGEen9fd8acaLEKMaPoTCM/2o3xw4mA5W8lNV3C2JlOm5hShxrWm/NUksR626zsx2FPlqC48ftvSMehiHfprnN5lF9pgNQ9XOyI4SVKNkfHN/IR8UTBcEV6BHThuXpyPlhkeoWM9tsc2lY9flhhJkHnDtE/G7PF8OIBwa0v2MqwTfhc4uBwnPNd7ZKCuNP0DduBCCh17ba/yHyuOYqPF2dMhDoIUwJZYSJcdkzaN/jeXI+KWGqTb7PnyI8e1N8gGzgeQe83WW+dikksKBIOcO5izaxbhp0nhxfutiqIO1OkSnVMIhawh8Sn5ReSmtMWD235kJO0bha6ycrK4ZXURpXo+hIe09DKIBvx44zDcLFkq0J5kksxm+tI8Q0EwLBeRVtN0r7P8l5ZIBg0n+hVkT5TitTDCIFKQDkKo4/RV4Eni37t8pDfhfGWtRHeE/wU9CIer1azW6LPx9EzwY4Do6KEB8aMfP8iYaqTqZPrf0J4z668dRGVe8cCvQXFlUd8xujD/5J0Ni//0DeadlLoa5JGsEUo+jppeE2LlK+22FZ47opvg1am/dn6Ow0N3mwsU85wJ9jl5nnjbzvhntJYeBh3pLeHy2UjBKVvToSurvWc6VksjJdTjQNz8vcehYfT6RtnD3Pf564KbMAuSLdpWjhvmzccFVO4YlwBgDUySY3s45lgka7kATlHGQLqB58XYDeUOBoZwEKZquidc+PgPOpH46pu4MSoy+V5oHfH7iI9o6mBAqbJZC3Z1km0ravur68JR5auJ2CNqodBtbyqwH5f3BDqOKf8JRiMyokNUceC5YKis6PXtREIy+PMXth+f9LTCYH8lo/jF92V0w0v7j5kK1Z2EVjs7L+T1tJeT8rvA9OB1SmahfSTsAvdzbP+QpzYMsxX0x8yJ8uGti465Eywg2wskzR2sKXqQ+E6kwxTr0ZL6Ah44AbaxArUvOU+1KVvDdfn0J0lRlEcpQEXC5aJZ5n37/zpvJdF5SfGxXHaSvbNutdefmDso7CCzt0ZgdD47pygH2W7pKkecJQ3OTIa9006WEb6Kgrtznv5zRi/3FpbVilbop4LCRY6vb4jTKiUekCDTawmfht21cWxSNc4C5/oM4Oyxv1Nd5UX6jOR4y1Fndfwwgxki2ZR8DxoBsd9WWPVMTlggarVWXW1AJYD1DT/E3ypg4ASEU2aATCoLKbm6YdrGt/Btn9UxXHLAbE9Q+6ruBY6jVMb/uVbv/l3aIwZjI/galfa9aeDRgz2fJ+pUqzPQvVBHYxIm1Eo0bTRuAKoLGXMOTCrGAA+54+03k92y7Y9bQvgelEZpiO7md6qbRXEbw8rKWB3bDnO3VO3LlyEBhOX1f+OFDKewa/xWOqYW3LftGhnSb5oKa03wnrfzbrifPj1KIa1hbg/t+Z7r55zbbNIPlYIWJzFL3CUvgqUJWrFDm0sj5wyLyRGih3IhErKbMp+9W5WspArslvruc8gIEqJmEoQwy9QILaxjI2+kMqBKDJ5uGmkLujyI5/fAqSBVtmNFYj4ze8ZLymkH2Ngg+PGBwER/5isL5GitOg7Fpu0behmHz1SIMgeEtDPKVG4dNFYoWPEad6J8+qcY/PE9321UUbw5aI8vyaxKoV2p002E4r60ncM1cOp6NwsNaVZo/iNZx6JNMdmOQu5TxEEK3nVgFVcZMbfUWh5IUp41COxYWuYTeonGyyzBsUmWA4OqtuyU8rXR5mvUKhh++mYTzkQazXU2VttyOMUyaMctf2fhcZCVPq5S/HZGKA9oPHU1moW2MnfUBA1Q1EYw38MsFtBF3SGnbHIdiQ3XkayMETKv9GFz/SOWpVwps+4ha5eDbqLC7boh4MbcZ3s3WPEVDUM+hncdMDguFBPMojUrCLsjIKS6JIEko1hGXs1fr+Cs746NXXi0gi1E5DNDGq2d3GFyipA2wZk4mdCQD7TT0Q3etg/UT2BuhXtecpOIM0AEHR8u+oUFsb1YIz7Tkgd65bDnjsoFFQWDcb4fcDwLSzSL2/nbqZaZV0yndo7tOoCHCpRHBDFSsF7+HL23lnhu6Rbi5jOmqojH06oWDy/A5jZ3IReg4bPiq0mAoElPDaP5OSB8mcZdAtOYj80iIGMsLDyByDSK9QUHeloFQMZE4Pw5pm0igvZb0cMp6unj3FTSgAhGljCDQKj3msEN9/t0ALY+u3KYG2Ir3J7ewRJhw9x1bxsqZIzmbfJMMRQtNNK1vB0o5rj8hu3YKJ5SdO+S7cwP8OY+PMR0FZoQ5uAr838Omhwx6M1dLCwMxxpee0JXZlaSC8Pw5SO2eQuKowJ2lsoyYMXtj0o7ZIxaMNIdULiyYOXQyUAeZtNgOHrzUWfas+9/mIgSLG/D6TFOQK/0/rRJ9kDa2vT+vngSPRRvCYpuP8f13uonaL2lBzQxHqdUer/82dhWOgL24SqjkT9NrT280BBiNl/oV3dwvBOa9MxMoJZfWYIQotR0f/5jh6sVUiaKsTx1hJfRj/rrJ4Sh0+WVs0joNA7M87VvH9OLJppReUQR0BMzpT/ds6VcSHIUSqZKiA5tONuAi/XB+lmxg+ahnTIa/02cv19bF1w+1jskp6E/cdfg7ktbqUG6BLvcSQFqdV2b8QBh+qYdcY6Gbpb5wlel6AhwZ73iOc3a4pjHDE288qEA8SMeLw15bTrsjbCnWy6pjRF50M2YUDQVj7B46UVypQ33Rz+YLWgtzMGTpc9+d/u1G2Pvli191UZcDkmDwnctTL/1DZkqo85OSKKM7slrXYWqwbqgSnA47CygO88gOr2PxXlxAASk40oYV6ByRussujqaAzkIgqib/XNjqizaCZm/XLulgPUccyT1/4xdLPJOSCAxLZs6cTfQDXuuVjed//Nr94wRJWVtStfGQjToNDOlNBOLH5+NfoXefV9IbaGPdH+av1s9DaJhnAZv2CD9NzXIX/QnKkQBuskaGUUXpnzArWF53CxSPWzxZVeP5v8ExZTGaejoZw3epiEHLNAp8Xy8snEqg3lPCKxAONCtfkItpW9+0t0YxDv4wqgFItgo0cw6yvAoJ3UjZnafb3O9LUrdAxnXEBF3ZKvY5OEfswCjaKoDQlbRCNBoriwUlZ3xsvbuiE6TISJS1kuahSyFkq1SE8Tjo/w7yWapjOMpcsPgkBmoXmV2WgrdWgjlzTPypj3VXBZuSm72/wm8pvfAeZi60xppt58Ul88bGoYRB4mISRXKSBfHhcs9AB4kifbR1dbmkYiTCRzAuOu5672ycMGJ+YQ6a5YorenP1qDyDFBaDdEo+6xJ9/9ovt0mfDtw0ixT26e+K2iue3EVfuS5raTcz/KSgj2mjk0lenxTKXcT3awJDs6tA65HZ30Lgsvh0Nlph61WbEFgUHWZkbz7FSrul+eLnZCVhmMJIvwAtvx9xUAMfQfFb62F0lPelEj+eQNMRIHLCBS9hE8oixbX0f/xXHH+WC2MciIfQqMnGTVxw0j6/kAv+CudGx4sClIvYNm7txuiIUf+UCOn3qzwCDeoNLtLgK1wltqP9kHwamcxMf/hiIduzeKDQ1mv/IfK8JLKeA8JIiEKoxjnzbGWpUozAcBFBYHJ+1wWrRIbFLw29QccLqYIxwELM4suFrT/ZULIzjpQTrsJhjtk4FlE48ZXrCT2V8rGJabC0y8Xrh1xtskM2wlqD5zBFXM0DWGOlmjtzrf3ARvK71fOiVERQEaGr3oY3wZrB5Vci3AzccZs8/B+nTrwKfWXbO0+SXa89FwFWkMv1u6LIK2h+MkZXT3jsf9Yhix+mlgu8qW6/Ee0GibnXkSX3jjup4RQRQRQ0IEJ8Zr37a0IcVW/AAum/vWElrSxGCNfS+zeUa5GzBsWBRl0jviffBgJkNMUPlsclbFJIwRjgRfIyplVPYikbDOaCdP8HsGYbHbI+DuHiIvc1EXVAng9WJFMkcuHVIB6eLxIqckcg04uLTREMlKLyQf1mLG4/H0lEQrVO08AxuQjBuOtK2EwrH2fo73Xa5VH6MbZ5Rp2cKuDCfXyitIhnnv8dsf/cBVMpNW/0Ctm4kNsLUNu2w96WAKwypVai2b/4mD9dpW0WfKtQ+4lAKDXtMNkrpDqCyWjHbj22Qswbj1GTqTAoDnSXMBnzVR4VdjUNsxKJ0WjQUEWMGHarB3gxbek4190xLw0N5Iot+Vj0UzTCF+wywUicbfIZ65cQ3Wd8RMJ02YQP276DT2Z7Pf6pVm39K0KvLOXgDte1v+yYriVwt089IgxgFjIf858uc7ULcmv7ceSPCeC83qNZ9Grri2nOyicgfDT3q9vaPr304Ed4MhsXgo3IAJyAVrXHEJNzLhofsiBOYr9c8+3yFLK2Q8RmSmsyekDRvUz4fMvJLdCWJpOwogUsVgPvWDo3VK2296Nm8VnvDSCe8bnHgeD4qXtSXN+TPUO28W+K1B9KMfqIZdl7GaPXKv6byuY+ZyQxQB9Q2oRLm+doqvpq7ZLDtEp26JJgdIPf0mb/aUM7J9wJQx2B3vW83oLVGSKHxtR45D6lKRgI5n6fQHDgXTdjn/V8lpX27r0fnLG3TCLP4dIokKrKD5fnzFj9VAywS+s7iO+0QtYgATzFvJSq/V+FCjSyp1zZSecWLOCtBH056JipQL+EhYZxXblJzu1B2hvXnLhxg51FtJKWDMqezAJHHh26y7J9sXWfzAofU0Cr2l2FccNgDmXhEahD3km0XxEhtjbnxnKk4MlHHzXassqh1H2UCnuyBve/Eey7+HpMRfsTFgwfiR2CoTWd3gpX6BgOWwxUVtAhkWHU9lwKsCZtD7HqgoGHgyX0+XaOw1oIwV7sBzUW9iUdp8x85+7p9eD6LvJS4F+YYWw6of4awhT7bd5YQfnNczrjC+NqB3u0fb0jY0GYFdA5Pp8y5Dg7FKeG5zVMZyN7OxqfdBEpDEfJq7cRvgK2eIPDHo40naq39qB9PPF3rR9/PsoqPPDNWnrRWz1WzfbWk7CZQbHrbMYgIj6cOhHi6Qu3PcaQBtXq6rwvWdLYokk0Poh/1VjqjOkBSncXudip/NpQw7CeXpIl85DoaqH9aYSE3tiGwPcskwcbVHTQrgHKjNRfIDg3kUJPlPVZz8SHYEAIxa7tzzbFq0B7qZ+Qz1Xoh5jEA4G03+oPVAq32kLx/fnFxQu1zw00StYZV4NEnr6Os1xLeu5U7x7gr4urs8SiBmRxJDPLs38RjTCVMZI8lTIUhU9Le+WondPUwWDXOdT9NV40nh+eAd73gZvAn+4MPxc2V9sbBha85GWHqVVxV9xIlNT1rQhCtqGpT4u66HpUkj/KnqfmZ7HHtRbZExGCkU6fdmMLM625rahM+5yKgWSy1IkjYMdFO1KyDLXkhzwc2QfsB600hD7oNfw16+LIZ8dIaDAZI5NR8V+UnccLHUmd32kqnzFuh+iE3xP/ThvQEWz7XcvYFXtqnsUUJvGNx2jwTqImTvfEADHHYUIrdIWEpTySg0RkRAuIrpI54cqNdbQF9peZifasx3DM+znrkwu6TKliSUSR2aaJdBIMYLC/19KwEY3wmethhnMPi8vXfB/e/Iybf70lHp701qjwAChjLaiOK38HGwsuh7ben732K4pHhnIdK4TjJXs4o2MiUsAbrwr8a/vP/yfXjO2CWs9OJOjoyfMKgmIElkcebkV+eYkXea82xQgAA9KSJVgGHkkguNfH3rA5S/MMo5fkeTvyvPW3HVDbmiLlgZUyBiQvGftFjCxnw0zZqrdGL9WftRxzHs9g/S6AT0DejHaR7n/g4tPq62HybT42if8iYvyP6AoeWSaaUzTaiQ/4eX+67+U79eVyI8taQqwNQ09loWo12KC3hIzjHjlPg9u7Jl6aCVTSrFbQIVBX7w3jz6XTvANsd8TEdMhCGAk18wG0HOZABy1MfrVNtpmGtLhRn+17weL04Xoa6Exw3UGo6KL82yirm+6nzyDSvsdbQo6CB1424NBXO242mLYaLdzolsXLVm7FXKaJnNv1wQo/GhckA4Vv9fJCCNiu3j8fnortCu4WXZjBRqooANNmlWVqO4Eum9/I2nDfk9na2Oxo652A/v7UCnmJ9QR6xqnsksuzJITfgCoLB87THkKF5BjpmtxR59/Aa7Rcguphc1UzC0SItcJcVzLYcRr8uv/d4i4I5EiUV7FaK/dSZD5NkyM+spBmB5fAjxucP+bF1GmoIuvQiKRauVHJLthdz5kVAJEGoTVVGPyxAaBLa+OONpi14WLUlK7yBuE9BN+pI8Ffm2/gOES1e8CW/pdr3sTKuh1R8TIpzyuoxsaYnYDWFG7PMfqJ5B0k3hWMjXEAKWHiV17QXzMyDxa0FIvpdaNNN1Aclz984MUHHeWAotWw6DdboHTjpRF7UUTtZSHVw5oqsJwEeoK9yWTCRZyCx8vYHc6qsuFF+Emnv4MBiWrPimSLUxB9GHRb7ZAyj4Y7jSEBE+SbeKHYOB9QddimwsYlUr8TTFd8Zp3wawjxCECV2juCKto4/1wqSrQB3E2Q8E2oK6Zf7XZqDrLT34mC7Ni5EokwEgSJhgQlxBkHgX4kX8xRkA9lEavXZpud1ffuRo8Eb6O7WIhM0fFpwh/KhcMfFKTSRzDrDG+AFkeaOPrqGnNFZ38yJp6kD8PB9vtCW5sjPrp/ujOH4V/tcFLB5dBe1GLLmU2veFD8JRQCl27BZcNlxMO0Yzg3tBr1Ht/MZ/oYoWy+yyO/D7X9TeWVmE2aZYlJpLLLB+CrK1UdVUATLWvwYNws8B+5k6ZyN3+rp/lNRS+lXqSJp4vKTW09SxhAUjeBaP4ndRzUXJPrGmwc8r55EYhiWjZ48nyU+W47kxu9s+G5GYFD2hM1wIeLXIvZ96DB1N7ZDeX5dkaJia2XlzNXLqBR9h4/a4j/GLYUsiAodC3KJFrcbwlKXaBMYOW+s8vWSiHraUmOhQgiCWVB8vMvI6bjM21C14Td53qXa/ZfWuyHRUbyS7mw8aPiAsD7u96oy0Fuk4DSjF5nAk9c0PmNEMvzJ9iAnFQuq/llm/8/2tgWpUbr8a9vnXF+BDGdEMsPQ135kr9KodiBxwpivgjwI8qFfmshZ4S/BkTUchq2/5qqnD6JQsF0Wrhk+i/NsJmjhoXItzbiE9XaGtvFruLGzG06Oxh0jpoCBkfEd4TDbJU5/Al5ZX4KWsBo2MR6H1nL6Q+LHSvgdBPjHBWetqozhNogtEc5OQZPZ0eB0FI4MCcKjGVsMcBVj7IjObEBMYqO/EDS2OTs/QRTSrQbeKhK4RE9TgCtWZ2OQqzyfU/VRHy5f154yB3eRJ0kErI/S4ExnXgoHOk5D+WuspY/HbrlIgQJ4+/BinnYZO05ic+k5n+ykBUkhcxm9FouIF7tjsJVNPcqphsnS2J95GM1rf0VwR650obkMLnSg3B8pESZY2gJbk9PnIvJlw0baRLAeiUtLQZxMG3cFtgPpQPRxHGxNnBI3EGdt5TpT8gErFS19fzmQUB0UI+q3p/+Xx142+dVhiNii4tsl1Px9mEW4MkxD59Gfxl6qruc3au+z6KJHxLAvmtaWjDX3uWV6M5pft5ERBhjnBCnzISn2ig9WRFJZ7yZTLbedDfeD+ZDPgDCv2USyCiL6VL3drlqYGq8xhpwbCOqfDyRBXKrwVwpcNiOJUUAmsCN/3g6TYi+VXw1H0nVsNoORm9xCxVEpvlbupm3AP7hqs8/QufsVKOqL+xMv0FXSJ+iYImDxdq+sZLNKu1l9kzZV01LnskJxkvvjBC96vtViL9enjK7WcQ464GM584PY9AMOXQQc7y/A46ISnAvfBpluD5OmOq4w9kJCFLSXfaLYY3wWF1/gNlnWU2U5EVhjIzzsrd95p0VfCGezdNAfya8gkOlxV0cdAFYON3JuKR2Jd67L1ItUtAmvugh3Cy0wR52k5fOG9UMrK4lis5rSHgnDULAr79psGD0iY00XEQMNBVh5QvJGr4xy89ls6qSAvw8AJaruGxt5vMH/+5/mvuNabgFKQyoCuKX+lW0g+w1iZCokLE7jcOiXoEATXnfLTD6Ga7pyN7jDLtlE8MyywD5CxbQPXWGIcCo1qLgh2gJbhFdnsr3qryPhG761HjIMZXIMdK1gJBOGcYIxyyZOKQBKlbgu3cnbEHPyRPnqeeh3cpwgoXgN9LvBnnKQVOJnIIAQUyx1wFYQ3U2UrENv0YLcMr5ajh44MJfPdIfRqc8djocI+xh9DDxaNEDkeFHYKl5d1WvTZzdyu0nUnH/J63lGSAkVChB+bRalZ5jeOE2PLXB2hvSWEolVwbCCZwvgwN3Wzj8sYHVTuri3R7DKdJ2MGXwvfxucuq2rX9InYwml9DxDJfVKY3wiyNDYuxQoEcArWOqZ1YWRJVbmDy+PASmBbpTCnheKvMzbJlZOXkZV0ORduSHOrbzXIp35pUFvRfSkG0/b0nLcd1UvlDufxaivMYDUVdXH1Afprgvk/JqKzogsik0DjaPMLT0hGgFxqpHeaZnheoeCi36CgazPY98W9ZGEik1iJ4p0Rs10ybGezJocp64y91dpbT3eOfhd+Pfr8V9osPUxjfPLXDgc/Ve+NQ7k9+91sy02RURdUADS/9n8hx+HRDyVyBxeSkDlsx97ON+IlLCLEoGT4VP3tfQ5Em08p1F3ZRoVTLnF3+rQ3ym7LzhQFQhCWtCGyVe27CTxSwVjIV5lUl/Ho7bxLpk+ZIxE1tuEEJmKqeRI9Lp1NCsPQ0MqFdbeStsYzfHp2tSMEBmz5BV+kFrImlywVmKeLDmp+f38BLIOV04UmTfV6oPPOV2UrDwQHBatrgBk/yGwAoTiB3iEcNJC9ZsFP9LvINrbfSIsz3T+ITAeHKMsFUyH1q2JQILXNQc5v2PUThxb2+or/1gXitvdSKiDVSZ8ide/Th6nr55rgUPpEZCt5bHPgMOAejHh0jj9t7bJuejOT5OplhnBB8DByz+5PgVxRryGNLAu/IbS9Mkj1MqNn3yrYkrktbaM4JEOJqrImC/Tk2S/C9FDQ9hmtjxvSxJNUswTsX+JVALsZx7mfdvp4iSmNndcc8c3Kuoi3CEeplsEXnUZC9l8aFyuxkzK9IdYsrG90AX0k+Q5yFeCK1mpeC2iGxFRLKy6lptq/VwJeychdTx0WdN4P0Ils9Oegv8WZNKV36X9huRPipA3BPvpC4aY1S9gLUW224psx1zrBcpk5beUSmwKKwdrAxVpcXHRPusTP9j7hKCcAha0DYvXdHqetHRz6z2yzkQeKbN6GQzdGqbE3mygQ4ZIQKKuxnFwOjoEzQ0ge5w5GbcnnA/sBTNzGJj58SjanwCQBXqQlqAOBoMI9nHTRfZe9i5IkrMHx9J1+ei+C6R/2eVPsQDxMAwJWE5Vy9KNtfDnm2K9P+NJd0xHvZ3LQxHWD9pVx34zDzMeLGbw0D1qBl1YCpbY4+8bc2Mzs3VHxUg4kll4SBQfGc90xn2cLds2DNCOWprdGjtYTnhGByOUliH0aVEna3VJ46FUIOBuw6zyoUk1sj774xWIv8KOiFj/75AV4AFSAtwKs8QhG+y+18TFbE1ThtXVFGKpyrKpg+/dBY6OrVPwhwYnR1g0pqmUPmNq4pt7bihpqjrjsZycshMUeoMAyLoCyZjHmOLfOOhv4QUwBim8eowqhBzpDsWTdbiAs25uIkib/1XB2I423mYH7cPbXSSdW64oC1Qx43pnmbgRAWWnUyDv+nJFN5UEyA0pdQ5Jk31mdYOxNu+qY2Nria0fhbCh677QazZPDxt/dU2tPAVpwhXGcTzJlA1q3kqTDbimO7dbHcYesfDXwSicY6cp5HbuqdJg69AWWjqHe4pNEdXc6m+wk3pPI1q0+GPgVvFjbDhNNOcgOhFg2UCRtLorB8lI41CMbs3fynIZf7We1NtQYxyRSupkxwUQbr//+fMPJ/lzvkEy0ieqeFNz8a2XdnoHZ8P49J0eALwsFAkV/uFnEsz7G0xxp6dhUMb8msOKmVpIOhsBpPb/IWeXGb9NGBb+ytjtglDbx9nxGKbcwK0LiNmPnJ4+t4slDl4HfKjBC/EO41/m9ISuZbdLXJZ+jc/barf+91Mc9/UUoF67B6M5JAUtMC0UvOfWnnRq1dlCk+YOH/Bw/oOMjGnSiL5gaVd2sj+a9AVlfP+ITPvPg1xQau4a1t46WRzt4mhVzmWNtKv8p2fdYbZhpHBMk1A5I0q/niR6Kku9tGf5zVnByp/3e1a3dqhAVmfI3wX154vy21RuR5n1UOw7GnY9gdUNafe1IZsi98cZS6yYc6zio5t/HvVj1FSjh501RoYwu9J0bT1FYj2SXZxGFVtl9b5a9qG7BFOHuShaIVtatfqWpC39mlABof3QzFBXlpBsKxAe/HEdHkZn7Adq6WQdSSiTGyU3WmBEly8nmK9t2tf2WgtleuTKnED7YULICUwkPI0mvAf3jkpPgG0bglRpWTd/Pe5YwTxi1tgj5ure6+CoQ3lHEAFyZvqsiyLrbRAxP9ls77zAQ3m8VukPAq8m8/Tmn6dhUZXbeWePEyy+IPbnYyvosk4ORpjNcpNUuMFJlaaxvBs3SeYHdVOV+vHwI0yjWsxWhaZqDhs/0WHqOv73gZGV1K4zJwZvK7a2Fyv5OToP36ddrx1E0BwbAItm8e3n6JEkLmOH0jfcY4lLmLsWTwpA9OIsfe6/gjrN7bxUFky4FrJgQSVFaLwk+1QRvhVUpIoNlrEptzXdEPN5Iqy50xQFHy37LRzOUJ5hL5T0HCF9i2DAgvTREUxxmGjDIPqffSFc/GNXsesBri1eYyVdwrg04Yq3jqN2rM4PMAackLMkqA6ZCYtRkUXOzUp95NqCD9sNVYSHJGrK33wWdy0KrJb4RQ5mocRIGF7jT0zaHIXpGA1DWoG1zkmu3X7kiDQJ46mewX03gZejaevyqG4TmoeYGNwiM7QJxFrzK3h9ikuNVLiMjzOR4qkkNs8s2m9S7o2F3h3kk/KZu9939DnOczpHBTEIZVB+bzuEezMiDAI44p1oRMUS9aOmtnfyQQl8RFKPedxDk3+snuQTMSqyzHfg+d2/yZLLQetQqIFOlgKejIW2DrfddtF0xPqAuuq5oPfzXxeipO5hi2q5Vd+h1uQAda6S0bzJjY/4eykIGvOE62XxoAOBtp8N3fxjKDzqiCzBMdPE11+iFdwtnVrQHhI3LkSOuq/GStOJfG+RtJORyutygYiO/LAYPQa8tZs3/nDURhAg8MGWRXlwGkgVGfoc0waJCNgadrSzsBY3d3fVfLldJpleWAt4mXBrKiq8ju2bFsZ68oFhMvO3g/HPkXUBcpQB6M3OT1/OtBmUjNJyac02lbuqkPEeiv9nBjtrFyHtVOBVqnNPoPdsHLH6JEqUPjOJvaarxoDi9m55EMmC2/VaSMOEvbKWnH8/+6pwdLqshmE4OTyRf5p3n6v3cTN8UIc3NWEzr+nYJrSf0PQJujTBx0uWra297WbhpIMJrBESPAM3ZBjTMZoR+D3mh/kgbTaioKWOW1XlHvJvrbpeHxUARQSbIEVJDDQWlazGPoB3864UFm9P/H5dO1t0+i/pLOwTS8TudVDe5jUnATLBJH7dVOpPfcXuD0DhXHJz7QRf8fPZYkTB6/bTQLnROSDGXIN/5qW0fZM56u1RJzGZrIeDDsgezvtyWMdidRP8gyiQk7BI+qE5b9RfuDN596b8H80kN5+kOG3vN8F54iZHcjAbgfVYe48d5dDx21fYs4tXGrbN1FQ1BI40kwLuTm1IkxGqX4GqMLxt36YheuTVnyuy9ouwxrDZHk39f4uigUgUXPm5yxWXrgWiBl8eslyPT/4a5WRvveOjw5X+GMww+y0XAU3CH9XeMR8c9b2ILMD/nhr3+Y6NgsoqQ0O5mJlRZFpHdIbapFLR1fT9tvdNZ61YowsjRxtPtEeWLy2Maek74AxvjpYX4l4MzNOktDYfi7XVwyWA0gEpv0NDjO6ztaYNUmV6jzLaP3UxUhyL+vYWrd4KLdlpS9PHheQbmMAmTJx/29tqIW6HoSAFD90GvboxuCHD3CKn5OMVDWXh+Hc2WQcWmbFAWnJWVzMyYxtKqEDG2ONoyEz9/eS9p+AmFkGBJnO/GV+kDPJdmva4svcFEkkAEgYz3hNWpi7x65iOhZ/bcMmTDYG3eDvy7kHB9qHF5KloPsOoCHnTDVI09v9TsJCm0c6T0TvzUpFU/aSd++i9/IXmm7nuZAs/teZ1pYeoAwFW2jnZ98kP8xayUHzyETrX8w+mU82pp3q1AGEykU5a+rIIVPCzwBQMGuPjTqS3CqhCRL3DCV2gtGeY4FSDKBC/WRgDG7cplvmG30UCXX4ko5yXol/JCE8mwgVYsP0qpuosAlq4WrrZKiNAwSDWrL7BG3hk9aNyzhudDJGUHKuZZ8Z+2o/tXexSMYDFIm7821JwpE59ECPozV86T+HUGVpwHOi4hFkgDaM5WD0HEZYAPCDCN81QI6RjNVWGKlSsxS79tgF4uui0D5GgOiyV33djcVTCEcA3wUjB247NzVw5xLCKU5S0mCCTPxoVsXu4JDR9xghRc5GefYNp8vgsapFW5BBdFYU3hEmgW7RFucXqpXYA+Fet8UKjkM71a8Dr8OrwsRLfV9hjtm72wbeDT5zTzbbYSjA2mycFkbgo0ENaDSCNWPr/OlUC7HVQYDAzc1uuP6tQ+ePiVqKryIh5mjvn4iuSQXfg6rp+PzqQvSjq39mcQoxVwVIvvLMgTGkBZwoAG3dijzRYLUJdSuxN+MpINVPSNsb09fQl6SBZqd20P34YdwlPQhaMKTf3Zl5KyhjQfrsDoMZ6J2hgQSZdxaL3QbBa4qhgg2SB7yHvwiTY8lsB0ATGoYk77VI0MCoFCECtRsgvqVQloM2coglroxqM6pxAz/Exruf6tkLTC8ZCJwDL1uc06MfwxMi4pu0mMjtgtvEfWWMoJCPMcUYKMsK3PJup8NxX1i9z9pSB9S9qsWXuzL7h1fgfnhfvJNVKXGT+jp5h8YIcSHo8zCKml5ksYvVm+7EpZLx2ofOWvGaGqDDmOVvOpKigbcs1aXNpF/ETu9NUpEcsiBoOoG/e1g7cCbUnVAdzq3CI4IUaYi1Wnb9K/7dWRL/qkGABm5WsCCFm4dBdxNd/BXk+GUmZO8mlMYE+KymBd2vRVQ/jTS9N7bUT6CwUwLbJSkPVvxM+xf6uSJdN1QrzZJI8T/gBWjfrifts9OfdKdkRvsQVSUcnBsVgC50UO76KYA+vlOgjyhk46vGwu1bkFeDgicng05jL4Hz5utnZ+sxgGE/GCqRjG/r9xMn4m9tIdrlP5PrN5juQBrvgGEkkLpco4wE2mxtM6INXZ8g7JU3+JAlChFJcJ+TmobBp7vseE0c42K53SPtca4DH/heS6TW7Lt4L+Mi4aTpQ1a4HcSmG9npnx/uS2opGjO7MZLXAT0HouWrj72LaN7fy8adP7TjbeT6aCQNI+p34dGxkZrHP6pxWx6L5nPQNr2YWdgrJbTV0xdU4Ib9uL9vjpgDBg1ea6IKbwzFfAif45wdHcrCe15HVeH2wGr/HFuqAOkglwu0codNyAbG3/ALeXoaesb/xzQB6u5WGobWMETlUF0V91LRolOZFXriT2raOWlrtnxUKGfjHoi9qQHPITkabuhn7UDwyXbW9R5d2r4YyMnkEzBhqLPqgFy9phPFjB2WSifAQZBrj9N2U4fjDmxdhPat68q4a6z+55kp1YzroGIsRFOIB61C7VFKMAUP4UZSOzd42yFHUzY5BbhXh+iv7l9fquej0KQEZxpqjoqfZOozmmbIpJjLvJXHL8kymEa7j45kEPBu1QRnziUJ8DAiqsgJ8LMdJpqpWoKsUW6H/Kjh7MyVci1og3ZMDw5b4GlM3fCH711EepkUOLqCqaGiWUULNzWc67sudMUw05OPYWY5G8UTP1V4bJKxMIM6M/abFdnLcH419VOxD9nmw3Lk3Xyvcw56RjTNJgdKjIx9NjjU82Lk3V8Y+aCQQLEU3Ly296Sd9rR9S0kE77QubokJ/05M+uAsXHBRYPD4892A8LvwkJiAVP3LRy8csWtlGYpCnd/jjF/jGJ++7maSyp/NgajmSIFRNnKWYKWG03KDTm1RKHEV/ixiQyBkrZyglDzH7Z/a/BLk+XMFPQ4/qV135ErUUv+4Nc7/TyVgtJj5kGW6ZX2FAtb30jmSIPx/D0/308vFo4Pe/uNhJTZpROV13WahxGqZvZ/15HE0p51wCUsc+hPaHOWeZlj61d41yoFffBJ8x7ew3rfbrFOkfQgB1hQ8su31eqVEpVDk9j+u7NROXrgAKHHD7iHMMAGlNqHbx8kzRmIFp8uHIMOrgrffUSzZvps3He9IKqfbhhRvALMlw+l040zZnYzfDKR+om/yy4+9xBcCGuvo/eoYw8by14BpbvnJ69Re7+If0eoyTVBAMMVDCIAFAfPfSAuFupdr39klM13d1a5ymVAYkIhOVSxYItBR6fLfsCbbzcVSivGWDpzc4lBtrfqtSwHHxfuEBe3ttg6FAqnf5KwdTH60mbRCdeqokBd0mnxtSyV6MVcEIUGDXAlcSPXbZOFh74dxY/nM0928ujJZpP4EUunOGRuN1tnfoMWjZYH91mjhFIfn45lZOsX2YteXpfpofdCvI/X9oeyUwwrjLAa3qGsxD0j7pqeF+fvLdpPfmXcrAbwn+wIjx5kiX28uH7t6aYWtsRPhVWGy6ZNdt76wF1kwDZsc+ICw73oKKM+JgE2F/Jo9jVyE7n3mo70c0lUg6ciCGWH+mZHk4z3aJ4M7jS6JM23ZbfW1k0AdLQEIi0roZxh+2HzhDT+9oSibwTMeDOjRK2oLYKweXmU+flEUOj6OIutpfwwr+XrbI4crUX7XeM45Mw8W7dkWsjtX1nkYIOYm1Sc3iOZo4mEgjz2K3MidrZZzuOM2afD0YVMFWlyZwHm0suZFAG1YHjS19KKmSDIGVC8UKZlNbnvuXsQLM9VYJMOBjdzq3aNx4+sTpXvJkYmRst0AmqrGDR5yAmxaa9qCKK3IR1ombu7hGEUfuqjGtW+2KDfi23H6nmfJyHO8h7yeZAIHo6h+Xqrf1y/p0CnC1uwsEi+z2hiSFCfShpu2waL4vQC4BQMEBzrL37ySCfKdt1EbDBaH40KvFr5ZDFlhngGqpOUKobmyMPLpbTKZ1vdc3fRCUDsns4/+S+4JE6KacuTDu6I1r02sYLGqLKtQJISs0XNmvONgiWPdfFMlXRCF5zvrzkNGW5fpdHNZrlaW3bKp3Jbao2v8dCsnDfZw5k8BE0aLaq25T28VbIwHw1eH62BtKdXjbQmXPlx5w+SnvTJKRBW1jMlJ8pd11cK77kMeMX6o0MftsFla+jxYADlI16vO6qIDJXwU4O6OB9BifPPM70/cVdkKvBgv8fnh7HSBR+16UZ4oAH2jhhVl3+RWK3jZHZXdE/pdoCC3bAYd3RUp7Vio/5WrFLPwHGgsGKN+NqZQz6ybmotg4J7qlKYMinMXMuhOHnNLuz+SltAS+HD34GhleuvpO3nhmbsBNLITzKq1/44Ab9BWx1gBvnxt8LkGp5iIm7yvS2Z/mMaeC6DxQzj5yWct/Q4JZH8HVHYCigKl+xUArGQPApXYYYARqNMgyzcNn5KFZEoWKQ+BzxygnaT28fZjDmZvcPQ6Zb7WSna8YnRJ6q90pfyIyzd2YwXNH+jtcY2oabH2/SQZ78RgZGgSSd1n/mrBEF+/Qjx8XuJSlBtFZur4SBjjqs7M3tw6wXr8BZZry9PmwmAipoSkS+WEW76MlB26fI7rI6asunYhz9HNNDX1IM1W/7Jm75ddgGt/y8VHvjEA5A1eZZe3Rorkfbp3ktySsmsuRzmfsuqRvBwIMKck4QG+QxZhuq2HRiMQWMYQUdd/yJvR7GPTQh5BFbVZ5WajfWMOgYj4C2nox5Iu6X7Ra+CYiJKsAhEPvnPPjT9bhEfkoegz7djc7Oyl/92vk+5oAlfvs19pOBArfBPqw5Xt2rduTEJvHhPpueX5fi957bzI8pCvybfBjrF8F6wb66dHApmHz08dw0DOTC14A+Qh6mUS3BQImh1vADQo3FvRZnhfiZzxg62b19qH3D//2Qduv8LEzhh5je9fMEJ1mD+TdR21nVr2L+gi4LpC5HcHowyJ38QK1yFGLonUXP+vo3pd3Lha58zqOl2OsG/iwe2dFeHOkPgcuwhlUlxmHmTvCNf6hFBcqgSIwWebDr74mbQVR427MIG4Yq1TnWuWUa8kmgEPZhPb5QWj8B0v4RSP788JsN6A0WC3B0qUl4ZZ7EqLQ3YF/ztwfQKxTgVhCPmKO322WDW7VpU1WdKGUcfM/dGbh3/S/BxFwQKhK+Vn5JZknQfhW8Bk2yz+G89puCE6mOSTly9Xt7mgYxltYXRj+tf7j/z0Z56pVMzbJSOeA1Tbbc2/nERM/AORSE8LmcHYrs7BMt3V4yZifnfnXfIXXC+WNjFXDjmo0WOGwIC6lLhxXd1AUKBnf8gB5Ndi+SQhkE+L5skB98cHbZ1WT2tFdXOlVs8xRyQ0spIUH0P/V0QsQ0RgzdtiCRDORT2Zf1fBJEHuVIBTN9Cz6nYvTdgBeWNhMgG4g31Y5X4v9wWzUyQLYpVTA/Cn+M3l4O2fDGjvgURidXcLX4BnzGzlpe8ZqlGmkMaWGYUTttSzjgBW13gU1G9pg+/mkC77cirm0fJUbdR2lT2uao7end63vjON0MJpAwzPyle20k5R6Cb7DCV4Jlca6UeGaZrewm/jSef2zknIyFUN5ANVQ8GmqTJUvnbp87tcGlgd2Rgwwesgj1Lt6crPDWtAdFzQ1iFyWQSqq9dYcSVxXBj9oOFDUBfbKNrevsBZi40zZBOqK4HIM4s+Eq4smEpmBWCUyEGsn/H6wj7oLx5hVZabkhF/wd9pCk+0I2nX2H5xaM6IGxShszuebwekdTKg2iXu4v3Gy8P5qfEyom4+075MR2H9nKYnmoKqvhlpZf86MM7UA6w6y/imyVvC6iKvVt4TONt/sF1cDQD1GaUBph4g6sgAZp9GCZYR3e8q4nNdsa+lexXJY/I7JFwckkbzCHxa9pZ2jEZDmmIldFt9A9QxBJYr0+x24X9a5Lw9AGTOf6yYiXwhSAGSaBDwXCA5pBpNM5YUlDhaF+vlIKavZ251Aws3Hw1qOHjfogpQgQ7Bk+MLKXyZAiUztc1Ca40M24/gvrnCqUCPVbB8i4ITeCEtbBn3enc2M3+enYxMN/F3sRZLTrzx+UQFV/YDjSJnXCBiYf/5yVJL9y5Xu2pUYdYZzjTroo4eRkIvU3pCHBgnTAS+POq6pUnSDvLJ8dM01ScZEK8kRD2/6KBzbu5m/drsMMK7DAdQnGsba6xcIfpB6ruJ9c4+wqfkBDc2aM/v2X8EacV9ykeFXEVKcwSg8axMooBZ7pfTnFBL97gu/ATwOUHtBt/lvENLywI/8vPwVai7jzMDTsmRNfVgpxoc3hxahaGUWoeKZ84oCN/6wPS2kl7hkZ/dMXKQowyp0+kXXl2WoMueYdBMlHQ7YwHhm79g/oKQkb99ky4FgJVzlgTz2Gu4VU4h013x4WHeItL5bPC52rmvAgledc+CbzXwpCk2NGW1D+19zn8wFh3ty0/sY7IiNgXHQitr5FhmtXxxfVOpo7hK72Y5MA/Yiz9E+KGexy9tbw91SkWNDpECK3CJy807keUu5/9J8EZPCRWhNjXlX6zEcKT+oxMLeXNO28aJvjPQcoqzMg28BZ6CskGP7xryO69Cbvcq/+Y+ShQG/olnciWnVFFk+XkA900BBQciybK6o/yrajyJXiaVDJ8gV4qRszTGU06V7iZIPK/aNf5sWYIzHxzeo+2a0VQJnNRPS7Jki/jxPzTm6h2T3rImzSnqshbH1UjUJRweK6gigYgxn/mOvbjykL+laTej+zP+UquuPwgPGZTUHYJk1gfOlAVBrkRgJG0vngnhT2QsUa7MqqQlSjpqZ0fZBkrGQj2q1Gqa0AlFRMK+i+/J97WKz4cMesPJlOjmIpB5UxLDykbpRpyPJCbQvo89B6tCD97nzbAv6LF8znVPov8QskN3wBCZkrDzNZjQ/aZywWRiVblmjuhf/VkczG99Hmum3pgy1UvXxg0Btng0tQnXJc8+cDEdhcIcqD3aRbBvv3kkynAOKmsSa1rINtReeZ+iPN9pswJy6DLNUWLMRtOukXcFKhv7ZTJINa46RQ8TNcIbI7zzrL/yTIA3S7mL9Vf/HWI0lHaDbDJL976qol+azAxVNe/ywoJtHBKEVnCLpoWTnkX1U8ahYc2ZLhnrkm8fjq0NULB3l6BDB7uLpZ+T5DouMcV3nrDKBbIuxvZro64pXc1f6OdR6C4B+pOIDB9IBB1Kf5y2az+qeDubnUc7g8cXkSBElp8fNI06SxE+i0PI8wIapJRvR5DurxN5lRIrf1knFUcca0Zxak/PHh0mmaHzYRTsXUpy6b1RbwRRyu1/Wi3ApwOHtpkLQ/JTKdGno7rUci3Z4e6v3+/K4qiL42tG4i+lVkvV9fnfcqxUvjUZDifa0WaKEKHCIlnZC2iE4/JERM6tItLFT+R7KUIEywqtq28af0FqN6zDSvreRQkd1aT3xqk+W7i80vl7wXh8GAHTtVnfkLk6gzBPCzavBTrY3Wh8BSGFRr/OKQFAh7l9D3nwpz+K2Sy1L8/R4KbLdtHKbCMZyxR4qH1w7VZwJ0Hq9k6OKlKIkd6H+mGQg4SytwBKSH2Ib4P+s7ZBXNzHnd7pFpPkdeU0qyAbSZBPbk7K7tUJY05eUvadGN8kt+piw2Wh5abgdBA3y0f+fDUWmTFnQ6Vj9TDlUdJT5X6Z1hLEtO4vCqRxv7RG4loYJiX1B0bm/UK0+1PS5f5OV4VkzpZH70TI3tj3Y2WcPKdRhYk2NTDYD4reSbgh0g4nMSVzNP7Q2p8c4JeofsJgshOe11uE2/iCbqdXimXMmqvSTz/Kr15P/iO5HNnWJZNX4FrSet/j3pOg58V71aofsTsIajemBJwRPal9/nR3J2iQ5bh3Q1xzslAsKYMpB4D5zhQm80NOxQOV2kaTJ27C6h1OpeY0MggbPq9dTfy6t6BIlJEsmoikYWjoU0WfsnxuUWKOGq4K4RkcgR3lwVg7mSiVbzJ+VoVQ5/0Q1Duo16W5M9Cr/XsZXNoTE/rPkvb5KOF1J5amD2X+ZVVUgMTdOs9BQxRPEHiHfaadD/xpoXX1HhkyxsUymGSKshjBhV+8HvC2+mdmEiJT1UL9GBbY41KQwTdyxPVPjDxS5TrJDf4iWF4Mfz+7Erj3ZXe0Q4dRlPdLDJxUa7cMcsWpKFhc6zvwDUHfe8PYguiP3RlRrPiT/Ng8qnCkrnTpVj6KBsAD2FYp3wTNvEoGYM0j4U/idiYENuLQy67qjCEyNyKAnH7fcP1857nG5yHQ5DWP3jMbbsdyIBWZhi0R8sJAoFyIxS7FYTVQC9fZY+zMRpizEth2rIjRRTjJA0QOVj/5YqiBfEvfzK0cZvn1ay7LB+ZsKZiB2UCRekmQT6igmuzV9T2mdASPHRuLyB3mgBJTGWESeyBeeFHFsHFaxsYky9CbJ0OrZC8stuwGtIkdV2TGoNaDcPfBKk7PGMEWkBfTIo3teHviIvsQDJ3g1HaNxSpXB/Cld33zWWjsk7Yc4Bc7txVpKNyaz6HZJ2UkRRWAMLHsJCQYZXvkpLYaluDIA2NNPSEWZgbABKjCymD/EDWGX7GRgtBfBmftdXR/brL4mqULDdWkylLfqGVVs8BGToxbV4Oma7HstnyB9b4hcNcvqx9XBHFn92rrGSTV/XXiNGjRQBbu4N1VAR+nQqwd5SfgVx/OnySz210uTqEF1qbw/5bfNPSqCbFJNFEyNQRwCn+DzpvgU8r3XTcz79Pc2zdzs1l06CYD4yQSlZ9G0FoYz2hJn/dYMC1LyxpDGL824EbAXptZdw3dIObhHAcou0uVOofoYXhWC4qFcmh/YKPaSkbOEHY7T7iKKnOei/JtaVItfCPWhpC56LNrUx56A5epVEEpmiosBP4e9Zwvm+2RFuuZ8RXwWSY7Qu6ZsNZjefzc/9dxg2TEmeUTcHb+sFxmrlx6vQ9klSbOrmbYfMfdf+fqoGFhPOAU7D+XiMONoC7AuWzQouLkoMX3Krg9ojBYeWr3HpnHpi6vir2Y3JB8XQ1xpJ6dg7SBZbCmH70kB37f9hyKsRwGwTO6bONQ89xzXPRdtxqA6N6ai3BxwogVJKb5XFS76nUa+Z3qQ6xt/HTWBWFn5NjyhkArQeMf1wrCBa5C1iGi0EsXhfxPHcVlD5eo9GHEpVlEHh2CkRs3Vi6tJxo2yXcmpUo5POX03Jd+BcE9WXCAVhab7EwM/8es9dj9nn228kMlWmYE4P2kFEIq7kKlg5cMiPj/0YdRj4ruKOPcM1DtVkltc8UMR6+2ARUAiKl4DFiTjvG50U78cIHDMBzoq1uSwjR5ZV/KIKUDgnCY5m/sD23WGiJhVyfQ4i2oxUqCoTi8KwGtosR1TzbC7r/FdlF6sFmdnObq/9BF0sV0nxx+4Yca0icOufoZ6A4fIYWtL9l72u29AhNfJ//Hv/i1yWKnhkqkVqexN0/fSO3UyrR3l8jp7O7DuJn1V5ZC1Jt8Gl4JvbsXgp51B3NOOXiJlnN1lut+wU3Bxr3XvFecrH2IVZMyBi5Tbe6MTSAifyqBPItrrudkz+BWxz254UQ2E/frZE/PJIcvN55ljgwt4ZRykwwl2ds3n+TCvQ7jiXX4IYPpee4CDu+Yoxp2fKt0WmKVSxlIctGnvMQzd1RkcyQjJ90c8EW7ruT5v0rjiZzDdgyMMGlvSgMTj9Dtmrk0U9Q6ChmfXJoTzkBLfr5VBwPRz0LRES8yAL2xjx+oV33wxVtSnxFiQXTOY3LYqLuBvnchIX21TiX/XiA/iItQbAk4lfVQAhrbNjMgZAJraOSoR6EkbnlG1Dqs+O39HH2PipcGUC1DoczmwttDaqE0W5Qra27f1YCl73CYOmyj4FuAiyuO7HDw2kZrf+o11sXEfT6tS7dnbLiU49L//uIF+r/xLBD7+JnOhAh29XIrjnws+i8NERPnXZ3Zc2H1lmu8DYxeLywJhcE6RiEAKYegZjplitRRykt05kCM1kAylcAAG1uv5YtEHq2QGe4+T69K/1QsjZQXtNyCV1cnmTzQXIgWb4u8tKWFaEqo5Nin7xUzpzC8qxqloUd3PGGmUAF8xmZNGICcax1wOCv3C7ObeRAgeC4X4yyvf54S8MMvzhi1JGPAd1pIG+ydtg0UvZ4ux5cEmZs9Rg8fFUnJvQ8qppg8bZxA9UgFn8ikyvQle27baa7DQJ9SwwSUdDTUpGKIMuKzQJQTsQEjQOE12ETuuZKPKODVJUmxmWO8K1mymuBVz5tHyfGnQD4XNUbPLtkFrxbl8VsE+TsELWSip2c1LzEdr0jDaoFxpouLUJCv8CXYO5aXL7K+N/ut7818hUapWLmghs7v7fuji2U11MuxwQhPUViDTj/pkWqke5YVkSGV3saDlBIy4poSvhHV7BxZizOuwQw/j4MVpYZcmeqJ8A5Z0tZSDvoqyt9I5zNlbpk42/uxrNYw8ksMxaW2CeZeKp5VtMgK/cGLDjzwYE/ylJawyS1lxwXrJU1wF9QWcEp6x3zUFx2sowX/Spudq8Q49KCXj2ycBgvc0askmGXdIEg7CX+iB9eGp5+LAm13H+XSLPATnA5V3BfNx0HC1j3zYsoDZ4j1ooH79Q6RH+av9yWev83xcN9ZTUrX3VXvGPyjLRxc0zvRIUHF8kzOgkmtOQjgTE9xcANz2sSvHkQVnj5ZCMjb5Fo6D4j//6yTs/5JuHJ4gbJ1qW7urmErtvZ8uouskBVe1PAk6dYIyGgvhEKEOl4dB1eeivBfSpcAuD4Ue0zvT49SI9uxcQwjaq9YkiQewLtqJpuARXOMBgFPb3VOLx/0qPzOl9Am6SdBL1MaUteHFzpoA115arHAEgkM7lG03sZQ8BJQP+E6sci7B9MPcFW0NB4jJOYbmHcuglyEMGeu7IAt77MjAUF3N9qGiybW5hpmI0Sp4CXdLbBj7zEWY0PkO3XEzXu0Y7/yu09zMWa7hwezdHyGgQBovDDak/uiiP0dfEvFL4+EN56c+hgOE4jH2C1BdrelJ8Bp4MAQcDfGfKag8CKI32WdDau9APsKfy7A//tujamQt0HIbFSXlPYekMRnbdkeldwZarMQmPsQXQjx3mLl6fRqQHgsONH5RdECsZyrnbis9/p/1pDSc4DCCbTKNra8UmVjZkuemCFnuvuHkhuZtN64GTsvGx1B8aFSdXvwjrocCUY/4IFKN43xjd61s/VNA4qtmIgKKemiphVDtKV+D05QGnEC0l6ehTpziQg6sPsJleITpI46pEqb0gwWpEXI4SkC7b0kRzlL38+DRw8KWq4ifQHV4tfEKqhnP86PffP/NJnqacFFAABidliPH0k3nNo167iVvCTpHlDATb5ktqn73WKpjRaD4cOtXd/jkH9ULg3YUnvnJEjKq5k3B1NY6m8DUINWbScuNYQS/mLpNoAQf9DS2jQ3Bq8kdTo9yW96Ov6waUuRYMiqIw7NJqlw0a1fFtgeam/EqgdJmZaGoyAo/Arhlf+XPjSg4EbdRxuV75SBKfve0zDg9WNeO9AcdR6VrprQ6EaN/HtuhoWPg5TqP3VF2hmZjqJeGpuC22LbCPEcd71erNZlfA5VxaZNVCAKk0lhzWSaGIt0IcXa/RvUedhtZPBNXwmgCzRnyA/O7JnEQnPAg6L8zal+tnzkxpOdMFTjrsG9dLI0K7XLvJlMvFXbpi60QKd4Knl5ZAm082MyEBfpobaNcEc13EReTC37TbZAY5C4/YIWCZFgwEitvYCyRbN1Kt1sy5WsILCOMTB5pDqpdbiVzR9M/oE5MzvaBPb8PJm3juDaNKrXbIKRXcbiYbio6ZlPTt47RC4PSu9xHcek+5eKALK9FaIRoK5otsLsP8VKOkJL/SLsKwPsG//obAoTk/+IwtgbDEYlCXWPDxWfSHYZLGshn+1Hvk/kjed3EwO14LNEnpR0cOvt1ZqZbz9LPbR++txc+rvWoFi+DvnlsqAMVhOdYeoftR4jppNi3v+xhwq1PPYb+PTXIPLN7Hr8nfQ4MSf2sGwnNqHTsDreI/LtoG38RdFByDbST9WXbA6D4ixoz7RCXTBkB3h+zXlWZmaYOs7/hMNKIaJkeodV96PsWrqADTtdSxOzF5VtWcJPPmi8eo+CZmA9OaPQyBcBhZgQX5aqrasXokT66hZPUjLKDihkmcoTWiNkboy5SlHJp1CV64V5KKt42hQIQYA5XYxiACGZaNTIvFgq7/+e3nJWmGIny8dxiVRdIXBRVIETVA/uO/Db5NGrVn7N4CiQNz661dag+DY4jfIVaaLMfdE4M2XXY/BluAqwiaij1mFpEjwoC4IRjgzmlN1i4doWhldmPjCmwBzuhgf0Pr2fbwctCfB7QYN5t2gtRQxET5O3Gjmz0LUK6bryAoj1Ehn8+Ik2K1o3dR8cpmXaBESY4MHpIBzzztR7tkOMAFl2BcBqT1KgATrkHacc+eHI/4vEvoSEo+zqHafymatx5ePaxLd3Bo1NRN+55zvPBkMW5iMf9LIqCRX+aBBu4b4OEEa9Jm+82MD3tv5Rfxb+iwXneAmMAuCjv+RI29LT0dnVRYvhXa/Mcu/E+/PGLWdCDX+TUhc+aqqsiXq6O4vMu6yZ/NJpeJWwJsm5BXWscbotyljQPjlOCwAsSUGRh45D1QBC0PwUpK8vqRmlAxL9MKQhAAPsGg00+haw15HDfRdg3AW/OMEF3EvC+RgwT4KMII9AGLa3CDJgRLb/YuUFchlGFb8JP35PNmxlbbdxKyPNZVqt5wKDjKyytNEiEm79TnaV1bl7sXXHQ8krMNb/JBej79vWWqUynp1S0CV+rsfEL/X4FS+QY6JlloN3uUbEHOzdsv+Jk27g2Gr2x2RIJkNfz45HYrmox7PI4GiNyEvd/aIkcQ9oMMGKrP4UiKgkJfiwiRQaq7gWy/vGmDdM4zZBiJGl7pIkH/UT2yHZ0WUTENKIA1FQ0FQdwhI/O00oIB01E4LBRzTmh+6QhjwGzQSvMHDYhTjkWg6c9MzJlRFQuvZyHcYh7cJeNu6UC5DF+geZf8AkthlW9GaraK4ep1o8etlhpRof5XtYOnwpoQtvkTjSVhH+v1KyvFWjkE3Nx8I08gRqoseV4TETVnTCEzaq24Oj48WS77TXeyrE8EYQ949u9Jp86IbjXnmqZZ4Ebz10FUMveU3oLYLUPzrxYRgwAOK5d381hycC1p1+jIeGGeKcs/L0NlFMIP+tXhlNpqe/Xtygf4EgZtjfZw9ntVEq2wZ0OF8gsPOZa5FrlpBnKBgafNzlbN5L2JQsRqr0zc+CPJy2I1tjMP/HlvbsojX+fWlbvFC83LtaKqjTQRyh9RNN5BLLZ67W1+ZD0tbMAZd6TIbCxcT0PuocpNjhmAbiBKWAri7DpGmeAilIhwEyfI/WmFNgPkBeayld3WiMgGYZt5LQNHLr2IZCch34SHn52Rc+JRS1oqIhDY/6ow53JVoiLrgICDXiaWXIrx6XCALTytcaSmYIowJRCJIxn6QBDN5DiYTw1lKRUeqYW9KFawF+V2OV1IEpBWchUxvzhNI8GT1kmrbfw5GyGMbmkV8b/V5QvlUwPj8BbJ2v33Fkc/UTafDRu0NGeT8l4afSSr/zB/IwDJJgM1NJJyBSIWFNAre1ml5kybsGUIO1ZsUaELyJOqwrKWuy6iJFzmExlYkOcf63Uzhr8EF3fnnq4KDcoljpPEweFLuHxkUDpBNuTLaXacYd0PFvlVEGpC3ZMD7C9NTIPuJeP2+DhLltfokz4511oafglrXb300EQJknWJzNhSwgBHEKfZ8BWqr2JHFQJDcI7Q1052wO0c9Ysb/s3U4Fivscw3jkNEfXb6yRR4/k/x9Q+zqv1g/dtaltBOtE0HGqywOQTCl3EufylXU5/XCV6HqGBfwHeFYwRdETbSlC4TdaK4AHWC2J2DDzheovj+pytN5mgvY2mnmY3XgQcDJATadOLUpz9YWhqK4i/EBxv7vSEtGT4fiCAGJCkhcmqFVcDCpfSCMa2XgnSyqRLyiVlUUVW70d/wTV8snnYXaVICaz6vlychQHzpPGPYAFM5vNKM7io4X8PyVRcyG92b0hq70iIf0BoQEuiHdbSS+Dig4hZubPCvRHkL8Eu2RRVCEQu6og1EzQEjfDvYkr1LiPhaxAncwDIFM2iY4pzdE3eT8PFwG+a2jiO2lFiskOf1W50tTOwk3MGBHaZrnR4b8+MXiV/pZ5jRJiyMVxBaX3fcgCqVRhvLLq7xDEaS3o6MxY0rAFuTqASq3LdgDyfKnDXDjJAOp3FLNMrKqemaUd1JyTYXf8lkUFiaM23olKhzt2m3Af/bbsRctQMOn54Yf4i6EP5HFWygQ9mxv4WTFMoCydMknehxewT267c10D+N+YRxoWQ9K1ZC78RGJx72H6ixg5sjqjzEfKqAbzV6Zl9PEjnMZrwRp1vxAqjx3560y5Rj4YzxC3pclxw5cNTcgMTAiN0qRPlCWDnq2KCGsR1gVMxJT6JpOx+qYHvtrU4y9JkB4yS9253wWmeiK/ntGKHyo7U1uN4UeX3d6UUoxsIiKO64BY+DWs9X7CS2RPcG/IXH7Isd+AKBN31FwaosE2yD2coxvFTiT7bLYa4eb4gvjbmfqlBHYOgofLtR4k7AzB/xzgsGAHLlqM1Px1XKnxfhCQHFj+yAJQxmq62+qTGB1L/qIYZG06DM2EDzHLfabb8/QjTj/wMAP41yB6RA9XTpT4EDLN2VoW2ZWs+uBa4HBvQZnp8nAYKTJNA8w871Cid1yjWcHWmAmmtFRjZTDvUHUgvt6d7KlDzPK9XVuB0XcCYy6DM1N4xCLD/0WoApP+gzWcpfwZcyqexOAPSnrHGEpiW6SX+KvM/LvGtT8z+O5Pz+0v1Zo0dqcfG1X4KkoayCjsu21vpG8Uuxnj52T++rRdgSAApII/mMPE6tzI2y+BlpFvumuwevQ8XSGUMVLw96rsvrbDouBEMs3w4ZKGNDR1AVQ3SOOhDXJxafHMHKUuexNsKQ5J7jsivLDrFDkxb9bV4tuW9k/xvPg0ERjJ+KaV7kN2awRL5JGsFy+2kp8/eEAm8MZRjiayfji8i6qx/WPOEsqcUhviepG5wuZtITUc2lFKeEbN+ZlgnqGyBFzAj92OXX9w2TtHRk2FcfMoRCQ4cgTjQc2eOpeUxe2OmDSsK0L5g0ssJtKlwmlInj+9nNGbs7xd157ag8XDxNgWe9yN0m/TG9V0MnHDNTsaO6As8GhxwYX3HxsIpPKBAzX9feAMBop8poyo6Kt5mmV7EpVh5/9FiZ0hp6vMRNrvj4nyItVZdh8wsTgjtHXusVFlwx60nsEELWSXNMq3TyMnYnJZnkZ9n6MhdqEmfiGStQc/k+gW74MaD/XnCEtR2B0QZBOf0sy5nUPlW32AiTIT6XDy3oiHIb4El3GGB4vmDyYrYjrZnXA9eJAzG3/y7K/CMOjQGShGJp07GXyfaYeybODB0APYPgl4CcXEiwMTApePhJmqoHHETOtRmE9bzPDiPFmrG6KBvC37McZ9PNHxR660upvMO8CxCYFcUfnpEmEt6jmDlkymqbhamg3fFbwKP+PNXM0uTnL1eW6nbYEs2Bf3LzU3j6v9yPkXP2CuDqbymshO/Anmr5QIT/4NeuSSgyXCQZ2w3goSEMDZZ8lFjy3bCiLCBPjlSrDCPsNZ8vOQi6vjVZyW+IUowM1inj4JeKyKrmx6d8Ejfr1S5jkY3DV3yBQqiSklY79vwUbtAiN1OpmCzmfEKwl/msdjQfe9olGxoNHm802u0Uw6MoY0WqgNVO76bjbLXpD6gC/AW1heHIPELwiiEqlSMER3b5CjG1IAcqVt+KcuTyKTXfyYHmracrImbll0KddNh8UnaRAw7bUoUKZRkWYmz7QPLC1L8qlGvuqk47lMuoZwaMQpYKobpdKpD0SOBUz/7FH0azOJhLC7Jy+wiCi5fserg5nuU9stTk0dyMPH2jf/dxNb6zb3QbBvy+k9vuLwNRW/3q5tIYtjcYq6z3TEajKjoRjyvaiiP1pcDLQ0pFZbMS48exqV8IEPZiT4o9gBNo+3ZR9pP8zc/9AX0rxBMt6TnPt/F0S2t6Sve4ntSBZZ3cD2aAwGOMOqDp5bouwPMJs4mwiVZxnF+P3yD3yeiZMXdil/fAzYTzFg7G4pj6qpiHUODusavj97IW+EcMk9bMNiMtPhKDAghAO39TvwC1NCW6ZoJ1TYRQX/lwCFk7c/txCgBkOKX0VbAeMpMIKVIP7VjnBrA1iIr+uvvjngLp40KRDhHEo4JrrBcNe8MKnpNDQyTr71hmbB/dNaOl4vnBHID8qCjab6sOwzwIkXccfynufFFjErpZtSKNrw3TP03/6STatKwEjCC4ppoqP7IDrbJ1ph8bLrD0JYXwm1IdZHgwU6PkHhgxTuvuF9srPPaZ3oL7YvbdQWr/Ij8aGsITRj43D48w59wbb4G0i+O1kGGLzXCPDzrOO6N942ClhGZ1eJ9lkiehaOQT3SQeiRyl4lRlBcws5uC+dxG57/XLEfpfgw6hU9fAr5M2AhyeeJJLoua0MvjQBjqiKzLxL/H+WdaarRFzoHa61yqJkXXVLiCkllmEhl4V+R49TJJFXt8gk1KfCknImzVlvouqi9jJ1rJ1I54gA5Y0L4yopzKiMQDox9FPxd9YVABfzlDmPT1unmZ4uUQQbM565qmY37vEiVjCLCXYHAXYsYttNPsGgEnYRZnZ2IJfD0gNN0rFeQGp7NzBUUIkAIHCb7PHlJEol2YKOtPLDjr2LX1wdM2F+LXWA0a20pJbxaYHxlvzZIDqvWKIJrXEnZOklodlMVYkk2cRPPuawNvZXDkn2sua+DEtxx2qUImmlAtFdfCrdCehvsR8ZywFV0utQLQbg7HA2/WfZG9a3B1CJRwJP6FK9jye8Kt4Xgtje8dWHSymzHzMG7GrWNUibues+DvE+Pr6PlfS0/CFXGvhbogK4BcDBkd1/DrhYXog0uceDa4/1ujU49d7Th88iDTcDxUw6pAgvzf/ohm1SezDKPZBoJlULI2/G7RnwWX99q5hHhsZYfe61wPI0+vr/pf7pIXbwi1t4OwjxWiTWy/aQ8ZVoJW0Js+LZ0TStXgoVPubHiAHDBiNAFo3vX73Zn4oED8wb9BMOxksjWPPxKexSIZudgrPKouuMHLpBXb/dGiGhiLyoKXP3/1cSImkWdjry/2VRo6+ad4GNAgzWOE4OkCpkKZCDrXjbP1QjJ1rFfUDt8FsnXTVwCJcJflWbRs0prkl3B08WanAlv2lg3IIB9MNS5fWoLS+eY7j+b6CMvAdCXoJLrcJmKZUe7KrSXHUvAcopivHgu2y39n1oM8j2vApFdyysOXM20G+tQEgP2zybf76/hN+4xt+yM/8HOC014LNy3OxjAjxBWnTJ5fbpJ6FP0tOWQ3YTaLV/Pg9E54UV/Xk82EsYYnoO7h4iX0ELyXi4M1JcNZFHcNkxQ8BJ2Zlkmv52mfuN83iT6YZ4K+bznkJRmvto73zCO6T+kI3NZC8KGoBEyNPAJrw/u88sVLrffQGM/QoXFTn9Pun1maoBAgsPWjiRtuCsws72nVcq7VGctzKh7Z0uWqb0bypElMEIGfA1ngKBGeQidg+w75SBiMwFM0XVU2kprwnb4jc09hop6jlECb6XNmu6aCrvp0pUN+oi7UkFVkxqU/1qDmqvrxccQ/zlyyIG6z8V/rL3P5woa4OBkpH2kepjxjyo2krCLWq/o26nrjf6JDOpuCIRy9t7zoo9qmTL0fp0zd0qfu2Tg2cybTjmalOqHB+honXJJomnp6BDoXoUDauKRfqX1frT+pojOZebmqa2uzKG0kL4+IxTxfqVAr4N+AGad4SIxF2kApt0rA/qxpTXjIENDBN5W9vJ4iL9Y6ptrKqzFa/wu7FaC+0ISeKZPwIDw+nW+2PSWBK4LhQnFj4Vu7LtY5lJHhV+7Ajzp+/vP9k23I+oGWxYoMNgkEyupr5Pc48oE4YHPfVbXhw+btg698LjpFqQJlv/oVCpQyffrkT4zDqig5AQxzAG0vstx8WsZDcwEeaSnU3Ig68b5tUOKExBUdjYIprExAUYYK9ro41l5c7sxPyXmuUdS7rNXT6Z2CXkM+qZ84ndCaihT8WLGRBt+l7uDg/j5Sp/QwL3G544ArB/i5Lf//Itf2LuPuePZeLGrsodiFkFg9EUXtNvptwenltLtrt5LdXNunFckSiMUWvJz2J0Axg7k5qEnyHvhV06Jm3JboVE0A5slZWQw1/JmkclC3Jc9w2O9hkJc1Iga/RWFjbO9QXgVsy/iYepqH4i2MgoNjtuWGr5ixAGqAlT2AXjpGrWq22sBIVYq7UMt1nQ/MSuuysOLAO3x0PpBCCo6fzDIflEpMb99fyVwZdskoMyNi4LVkwi192OogKG8cPUBiz+RqVzryQObCHkVjorsbqtCdt/mqyA3roolSw0gQC+LfwTvxT+BoYd/zbKw5U32Lae79amMJSXzjMjJNay6sZVZKykpdRZhB0HzvHUBml5TWTZf9pbwTlu+bJ07juswZp0ctmBmCKIKyqH7RP4HMdZ4XbVfHuj/6/yZAiRhuo6siaPUd1dm77mbdiQSlpvSoZcXfnW2+q8MQvBjoB1Z7QQzTLNfPXncytN+13sX4fBZKnqP1nx6bTQipCoGnmuVhsL4BjvT4ImP6abTDg/ltBwUulMvfOihlcG1rPcN4Ydd/HA1iFjl/tk4mtbg8f1dIImzrZB/9rm0L8UTdjd5GmP5G7as8ylBmfSF3J/07oa+EsvCkykoPakvgCEHOO6dbh9K9YRuoio9Ys4Wa6CV8tyz8M69KKjorcqK4/4Aay6cIcGzLhIbYszLQJ+nfGLjAm+M9xBrwcdLZ6+WDpWh5DUcROqFtfcXQgnNn5yKF23/imk8t1xtBRhKKZHFpKhEHE7Ii1xuacBp87hO5XnLBU3LglYP0a9nL8hZn86Ek9/cQeBShbA4xIL43iQR/gz54GyvPwnxlHen2gYyeqPfxnScujHSuLyhpt6LBRkWpqRqSsRK02R1Y9/8Ppv4MqAew0+qc8Jc0+3AoUGyCvkIXQSkyXq6AfXPjgqPfJGh2A/ZUsQkr7Y1tXgPfbLXOdAmw77P7gbVzRD4XtGfUB8O1e4wNhhzzC/5ZAOkaGmh9R5M6QGFiP2lxdy+23xD3XykfhmPkxxRnZ/TvCotREnMLH5lWEWCWGg1Y0w6gi7EECO+H8hhDcgDpFbF9PWge+ZXzuE+uFXJD2+wD2i9LQ7CLG8Z1vwNmcc5pftt5okbVhmYGJlJYJfYXIMKCRop+PyL7FVJG+gyDhTs+MEAK1Iftc4+T9kzRJC1P2d4POz0KJL7ovkdJHQQEp50PkPJco6GF81uXbyf5VagLvUxGv2QeFazSoNLqvG9ZkjWjhc3CDdQARXKYffFVt492Rbbks/25z3hJe01M8iqK3JaQ64dgRG2tsV7fc+NqmGAb6J9cS5iI4ArrWEWwBLP9ofTG8vkIDlkF4XNkl5C4EW26q38dbIMz1x4OMJvTDtvIU6d40prjQOmpqcE5qB6mlewmpcCOvLXsxqWBYkXE+YvnVMu/UENH3OhuFzh9hlxhqDjjZzoWKe5D7lDwLI04enuJRpNqyJN//bO1iASW1bsoz+6zSFTxqgoN71v+FQrfxG9ZQ7uA9rexQypsU87crn3s0t2uq0dwWrYsfuRz/1aw3YKd+TvTnZ/2fsH/mazKv518CJLKtDuz0DaEPjeTA6E3QKCneH4IdE4TJBLWH4o55mtGv5PNnYAUF1F9r2mNdbtfxmomYc3UP9xW4fNLQViwKfTOwlIfK/4VcnmktUF6vX2H4QlXIsTV7TFYn/QJhIX3QlRgk6ZELN9GwcxcX+lQp2TSwp/HgxEAyb+zJcOjyDz6lo2zDlxevCHUAfjcBdgtOgkGzGpZksEYUkRVFwPmQ59CDvoZ043H1nZx3SmiwtdItSILKNl2iEgAVPx4OEgfvCSrLC7nocWpxFaYXPKfPpo9WleRfaGgL/DCMRNr7xvtvg7T+0nQeGpFCMfQnySqmxJOvcSQcIBGVdkal17kcGxpCAb6mB6VUTYQpfSauLamqjbNUZ1KPcDxRjsLLkz6J07OBqxFjSsk2jeTqxykfdmZp1h+magQ1Kn/rN1TfxrVmEwR1W87d33J7BHFnkkPh7BE38P5O2tFNcriZuL/3rPLxcit/zSdYJzcy40ei+Ty4TzxQrKFDUecyhVcX9JFLfQlxwOhN9inTnbnGaUcQNI73FnMLBdiOBkOjUcn4Ya02IgJbB7ByYJJ2otnJKQ/+5pDaariO15DgEcfOhiATmvznODzMd0+ewoLaDaPdgwE0Oy+rzA/PmOaAGBMJQn3g816ZJIW4bsQMgRmTFVagZIXiEkoP0TJr2Coe+qHE4eozquns4hl3CSsdfXzgYCAcSFpu/G7dqO6Uh8R0zGJYaDGhaWB0Yn/LL5hkKu4/cUoerHaS2qJXTqI/1I4RMSPoCoUsVEYXaJp5HW2zFTqbMLsLNLsOm5UjrYdXCLUWTnE9RQf60sdwh8vP9RPECop0ObnubP2Ibzso8Gm9ipWYKguQnzWCDYAe8BRln+cVf0DqPGwz909ne5a1UsrmP0xAwJNlpRdARlBYLSwjDK7s9Y/EXT0s8XnD/UXfBvB/k53XAzQMV/QDOExsVTJcxmR98RrJLgnI18nZjIL26aduwx91CbheePPxwkvINqllSVncvf8lLL6No/e/zkePP7FLqcwhelcPlRu3KTyhVaPOcaIfEYVXXwvnW+zQ6mCYSX2JlT0CYgfWPjtmfJ8GL9Lc+gU+yra1Myw4Gh7qVLOpRhoOrlIJJOe51aXjALqwxxqLVp3KH9cDGUGrHQc6j1uJSxDUkhYza8mGhTNTpY+YhT2X/KknAgEwYMNu7ce6bca1ja0Rg9Moe3K9r7idYGFQ5jHi/LqWGZjQrixx0swcURm0nsiJ4kJQj9EF3ITUcSNZJQKdrP/dV8h2n2vwudJvIfs/ac94RDZqcyr74jLcie2n1e/bJjWIdGxBqEmi6fEjST0NwvDi3CZ3xg5YdSJGh2hAXCE47/5oLaISBFLkFbBP2nLmgCTOayp0VtIWSH44Lm6PZ5mMFe4/c/RMJu47h6zKKzZ7K4xeUljqppX+F1M+em3JgVYVA2/dVsxdwVPPpnTo+JmubTU20ySAdjWFnD4veQeVEB21HzuZXlkkzYHppxmm2zkzGaqx9lHD3ysUNH7+dbSY37+886vU/szCwAJQfyxe+XiWR/+RblrerJNVtdhv/6/sgm9bnvCsKJKGZICOEX/Xst/UeOC1b3alqc5MTWTY9KHQNeRT3PXmSkFoymzHn80Hnxx7c4s/sMdvigq7eXCvNQYq3/TgNNOSHWNx6txTSDiBG+lMREjmxbA0LZ7VKc5Q5flylGX01nFdQ8CM7+8cMkTvyG85OQ7iwMT+u0yNo23fdH3Ij+fvZs2NPBEyJ6qoYLCUFjR2Lz4T7X9X/bThGFoiogJLFiDHGDbH7l/vcI324gMHtx7HgXvC+6NrH/ZfdXadxzvIWbujuVekoV2iLMBO6QOqXvEhhf59+gDAismdFGEgD5eMwcjtIP1DNHzWrektrTLGu0oh2mpDpaEDyq+ddX4ypPlj3KJGg1jetJacnJxzUKJDxZltAbiUBPvScF7psHt3zTzilkX1BTE3Z2OE/Byg0Mldf8MlVH5fFtco4YacH+YgvYtvi3bO4zY6bbjSF0s9d2EytJxKRe7bY7dJL8yBHTdBH6izxPG7X030DKSdmxwEkz07G1K5zrpsiTL1L/U2RY4JarREzVgJI/ejIiZQwEd2nXXNOYKm7f1pI7cutHDQvgKjV9QA1u02oPHcTFkopfDW4tVmOf8/TRJC+9+0XHAMx8V5tWmY936c37NUekpwbqw9OmirymC50cNdsZtU1UdOYAAHrWjWrZAhuQgbxbIUfvAXwF1Jf68k/Hu0Mrs5nvJdM7WuGJG1oqOp9QVNce7l25rJAPCx0bkO1q6Utt5her6lAEtqHtlqpKkQlCa0HDqf4n1nz0/ARB2a6hcXz3u/5MG8yCkzk2uF8rHmQ9YQO+eGQeeirTT5NMvcjtTbjHJSJTHDQNXPSBNXk3PHg2lvzw5/QwAddLp3ejl4RZAqzPP8mTdtAE64sS4R+ow+YBhNMyMUtEwNZYHNmAF5ZFvHR2FnjJRCmjaSlN6oEglYgOOqK4TNWbOBgiCCWf6nArxW5y/Um2qqm53j0YElgyJkc2wOBsO+ZyxR6j3mClwHl3NoU0l+PSolWgJGJm3tYQMvVAd2we/P5wTlLE2v5O//+7R5QCaNivaW1LyVJ+rho9xceBqfh2OQLZZzJLhIN/gJ5WdpzsKHNaA0rRI7znES8+pz5XTnTIKWN0ogU/jIwgWjhm4OKR06seHJJa/Kzo+fJ4BrhqGGiLMBjUTsBgLHzClyn2qL0uyyAHibVxcJvy2MMPU3KpaS+piqgLH0EmXzX1ywgft7AHbAooFUlEHZMIow66p99f3TVjcwd0w9KKXmmEv2M14WF5Z7nwFO72VuGSNJVxb/yE5NMYrAeFx0/j3I91Zi6HJLSApdXFTEeRMxmE2hw+f5VaWcoJdRkPvGFAJpKOZd32j8yiR6fqcVZR4HQzy1gtoI1buAti+leytdCwL+DrdKlkQCdS3EJxXwpaE6d5rgeXrpWRqkiXC5JM86XAb7c+FYpZunrLW0MpfX1AFdFsm1po8FGBRUaiBSUhKS1D0/L0wnfS/6QfLjM5zhvDLgpOffn+XDAUBkkb9CZfRfYW3L+690PphSLJPQxeZC3mmMKDFQ9/Mgd2qKBivvfIWc/JVIVOdoLUsVFBPpitf8WiTCkZA6RB2KgO/uTm1PTohyY9oL3ba9GLQxdttQMlU5IKcg27EwfSAnmSBWk+u1U+ppD1tW6Frbd2abLawMKoBLSqd2icQha68ZsuO76w9DfaCtpqnkqD1fMoLjqBdXBacAcnTYCmy8eChsJvgFZXrhIIvXYCleGnB041+9P8O8QYwqnwzXCirt2Pv/VVkqAYlixOHkAi2nkRzM+GVvDaAHWZQuYir2KNY4y+zXU2YcbxTvedpvq1FS52y+VrzDebmrdqZoamrlLDnqIR2g5nxsozCn2UkKSUnu+LoOtV/LFLtIph/vnuWQwHUkjSSCmqZ1N2lqiHmODfvZMPX60qkjwiifS7IDuKWQ83sG8h/9PCDupUqlIyd0ezo7gOmuMbcXn0HhVWCQldXnjsg6/1Pkj96J+/dVHve+7PsFQ83nlC4me+RA9Sc9J3QihxfdIoOazFdr8Cl8+w3jVCuDfOiPE9uI4g9cHDXdi6voyl6kO3L4fEZrlsa5eLaW9aEfe01fJWT4mtHN2Ot89PV1sHE7myRzhyiv73K8k7g2b7/xRCROTUFAcpVzmTrKC0qfuhjDVNOM0JtB9bJEcFGUmYohJPth8bg0iI5Xmmvo6dpuGgPV1TnZBdCn96T35edjG//cndA1nnsjjrcqxSqZmy00DAcGOEVMqxvTTZZBn3bv8NwSFXtDvNzaoKfSxo7+egqRMK8F6RrPvuyVW42dIX5vH/K0+T90yMrCTCFPwYbhZM0IIpj2wTmixvsRhKa5o9XB0Cjpam0+2w3lFp2JT3Pu3BFDu7Fz0u3BUAYJajTPMoQL3KeZ7xjYTd13O2dfSOmcToqLKFy83LnFBtNMFw/U9U2XfalgGBd6Hl3XFfeT44M+OQtJPUD0sETdGqEbBAHAjzpbih460xbGVOCyzJjsfkYhX6HrcwYcQVgM+Th9RlYH/nr6Mw8/dQ9FR2zyMp7LGJkyGvm8haA1tKLNFqE5ZWwMUe65JMvzP+20vtc+dIILgNOutcF1+kEJdCKqWK7dWZ1PamkUEqsegGEC/c2sAoOXpoWK/4F3nu53raecumsU9jHx+96nlinXHgMAadLadAHRkdFEdMkKKlckt/3ELL+StDJtRBcRD832wt6OdnXX4zDexo6ipFjXZPVXfiSIeHLo1pcQtgMvA0z5JejzAr/PlRtraJGlUC4tuR5LumARZiU4hkWJQtHlNZtRGz2eLeCVlQZWMlAGPKmaOWLS8F1tkr6R1pVDn/Jko8qzMUjA9yw3L4Sm95WAGRxnra6Ig1RXqgThIzh+tL+P9LIqQr93t5PiBlQI6NLUPMMC2dEGYpBQcjbsMXdd/ZCMJaBvTI+whpJCKlEk8TctXJwHqKJBCHToLD7gl6hXisialc95uln67YRM33OHWeVjmWPd9ikMtcZFyvl4sazyNf0maIawJp7OmIUhsnKqHnm3jPQTIdzosGVzBmeUjlVz9VCWJK/4mW6DAjVuHC6i6RhZ/r199om984CJe04QNvR3cZ/9ia2YbfDOngGv37ONTcWbKhBmay19XvcXsDNjZmaQTmYhYCtDxkPhF6/VZxzDq56ePYe86p/sbkkIs3hVt5/jF6IzdjeajvwinfJWz0d2Xx1rFQrfWRoIXrVs7CIooocmrwhmkkdtnIudlNW6fN7F2BSrhN7O9QaX9G7Q8EmLtCeF56FMN1KHbJZ8CtkL4o5NOwNRbcUFMp3twWh7V3Vv5/ybohMr7hiHAjo6OKDL4ED6BLMroZmIxYyw30fEMYCFKe/POpYZLJL2kUei1rg8QHGToyZ8/IlHtuFye17xiJrhMbY7y/lmuC0sgOAPw+pUZBSPWQmkgop/3lY4+mooT3ubxD11xoz6Pnxo8d78I4Nl1Bkg7dq/JZvCbs7/ba7seo7PpCLrFTje+idPMXI0ak03e+PgIL9HSnsv71dRCS72fLnbf9CCjkjuMXC/GYG9yN7QWGHImqwC07s7FqLgJbNqayW3nDcatc3RbUaYG+bG/VzInpaQA873H7EyTSUVn+I8BQ8Cqm28iKnKmri2Ff2Ja29+e1Pr+Bgk67unqr6E5rjZXXdEq8fr1arhg7vPCyvMRTy/v4U5/BBj4Gf/IuiZeAYSndXbeN3BXGb7e+uTu5/ix6XkvWVQIh2nZ3pJyGP39dBeWbt3Y3/jE81AbHGJv51+6or8CbK2twji0k3yAu9/tTqEI8grz/26WphoNeZmRHpLZ9QK0PYDbLDD6K58MTXgmtjlqO2GuKH8KK35AgBESlNcrhwAsEMRU2IzJThb0r3YGsN9Y+DmJLZOwxPE6U68NHYpS6u9iB1OOuvR8cgUhHT8nu9BCqG6tcoZ3aMQpVBhzq5ptvIDBosj2Rnhowsl5J/3N8gmaEKeEecAygcVY91ZAeFgVmZo1ckcSUoQHY+QobMXE3pc0z6a8UysmtuKF2B/DKPm/+gVymOY3wX6zWDy2Hr5BVRXjNHbq58TWsVYSYehf7v/MymabMIAc8dJLtROCTy7TAItrfJtwa4EU5YuTb9bTJOARjTdD1gDg3DPHUf09MdNLCkO7/nF2frN7nqs54SlRxpXCbVUbXwnhhZDk8CBtcXm7NJvzIdkf7Ffyjk8pgqvXw9lbJutxqknZmiuelPWUuxGktv9Hke4vzvHVO+iv7WItByqFcdPwBLmSVxZTpxDka+G3nWJQGe8UavATJjHlaLkmAixIQvePdE2sOTjndhc6XLaOpa6kMhRx/UFVNUSOxo6/FbnEjuPF35IpRs0eslmu9AfS/Pq2T5wKtJYJHoqxCzWm2h5umUGB/5yRwH2d7OlzaWQlxTsXWZgZCNdK2CKRv9OW+1g6jyxHUUZ6JIjtFtHuzjv8eiV/RVcx6PtfhzfX0uYoY+W+qklO8FbTny8zWTYGm8uQNMnOuJdemWoIKlqM2KvCBVt3SZzct44MqbSxpiGEUWQ0wua17c1Z1OZ5PaOOz9T9Jvh37xMf3CJi9lcKwYPb1aeLNCz+QpBdpF5479PE0rIfnUcDgygDORQC2xnLaQ8J/+Y1Zs2zydmaYsBoapqK9eBGRrNmmDvr/mF6EZjQbGxkPZbjx+M9/uAoY8BqVBU5mUBL7QkuFcQu5vC9a1I2V1pQQv9ojB9zF7QEkNCA3Aohgvnp6vU3X5iSY5jVq3IJ+GmZfL9Ev1RB9Bomx2zncf7LvXIwjilVtfcAp5bippTi1qPLrY2U7X/zBqguEdq4l45Es4/NAisWV9hd9Pz1VeQJYf1k8FsQjmFintS2kFKeBLF4wsbUBF5IliiC9YtfubVPg98+sHBilBMkFcj4n24+xow7BbQOQxOhOfkgH5s0bsHJoJEkNuQOT9KBD1rQithln4DZWiFpR3xkQGFbVW7dTHp/BejBr21fUJQrSpC6R+QZ63+f3pC3uRM6I7SVqYBKfgAsAs7LDxogCbgOGp7viWhTG3w/lN4MWvQrU8bWIum/4rOxPEVx1XToncLrQF/A0QwDfmKXAKI/4woSDVpiqfAAd5QIpr92mi/bgeR7LF+ZiognAC+XOGvZ0TaHSz3Gqlk3dvuY54fGYguMf1T1XXw4z+XLg5TnrychmZrqXuUkb+4nDNi4J+zc5N+5+iSpLC/lccEsiA5OlRsOCKUJw9YH278GwZlt8ew1ppJZqYUbBqGuF/kCQoU5oeAWAnstQyVd0/McUAIrPOIu6qh+6gnr3/vkrSW5Ttz20glzPsYXU2XX0HqVIdsDjpGX6PSo0bYtHlQwz8EOO9l3kkNQkKk3hCv95krisiNWTNof11Qt2cHDjUo8HlOd6lr+DDZbwXCvFVusJLCWlgtu67jTxCg1QbR4WVCYe47gawP1VFRNrNaRZfM33WMMg86pj447Z/ns+URncH5J6H3yg57vLNPeF4AtZWztbIynDqPdzpRZB6oBijhis3n//AypQ/SH1MiznUUo+/sfuiMYB3wW/ilxwvk1gTRHBtnkUZ8yM4hif2d1obqifbrvwCK//h68W7ptu8d7ZjZgmC31rCW3qQ0S5BvOaVPshugVaAVgLM9HJ1f6XmsG+eJSxHUfl11h30I043t60cQtLtkTuqNb0HlO+8yx5pOIMLfr4xcwB4KOb9M5fA49L2RxC4s3GyTcvA1eJGrjPYizkkkLgyQ/iP72IOI4UIMPM07muO52UZ6/nx8LqnAl87hq+e89JYZvNsadQo1QDdL4PVzNberQiKS/hM6CPTYmEeGW4oPA0lGmPcjyrO19sgqAj0wfhHunGCxi3df5tuiMnEt4HEsoF9KfNVQlUPrHeOrCdIFuxjVLvRMmDbSkKsrDRWA16PjSaXP2eTUNF+swHeVzt3SEETh1KHkAEYTi8h9elMWzSzrM6cam1/eP5eMxUwMt7f7iAB8xMPGiyY6/4gwUz0PadDUxSiOAN9s8sLRle82JFRt9tXDBWxfuY5lhXavgHPWeaDGQH59H02z7Ja/sR3jUCcbmPI27jO1g3+0eBVSyFXJMQM6+XoN/ZhlokkhHN2LSW2TiuYl8XPQHNa7UwfCG7nm61xhAo1JCrrlduGqHgqGi09CuBt9ivNH+KIdvBlxXyhY/Y7t8dyfCQ25MoR0cso5dpkPa7u4US5D/wrOcwQpo93iNLi6SZDubxWYY2E/A7NvidKQUXQONXVjzjwTCot1IJuq+jxuwHyNg+bbG50nVhuZU72YK+6B42fgGfDq0QH4q8URvRUprZjZ4gNxDglzPf05bK+faovB1bLNqPLH5IVIFP6n1uHQDpuwQX5IbNslSfog8rNucBHN0X8Inwj97KIUzhvqqaE0oOVTa96131dpl5t+1KmJ0um7DzolAhnPqr+4MBDhIDJ+w39l4W+Z96mPlp9o5h5UG6Owu2XjYjyF2mfc5ZEPwTAXLJn61zqg1BI5asqcM7UVNtW4MBWuMKRSNWxfPxlnXHeUNl2XvxddlkBpboE90zxrzuEM1bDkIFq5b6IAkvFl5M1aX/vGg5anLLYDtVfeMF4RWaOCSKAu2/Ai1G5t25oZfUn3qmYp/r6yi8HM+T77VKjddDmBnl5lbs7gniNFofVbg9sWuTWq4INDgMTrrFq5jSBIMGp/FQJ1lr4kvgBYTMhhpJTbViiCGTjVlEYlhqagn8Q4pUyZlvofQ2of8qlI96hkaYPKtYVKK0ZAKnWV9mDFF7SO0r2iZjiYCnQ6j05OCF7VZuB3S7+cYhPJqZupAxLTXI5sYF85X8RHKOMIxcFQAuAKAJrQQMFTwAgbV7Ije2jjA5AlkvNt3TY3tggKgtx2xxybCdyFz2QpANfuYZc9y7/Xj/9cTL+kkBQK0kEkFcmAU3QI3Wi2U/M/Kd4+YJhpktfprsWBIaT69r4c5uYY5WNTiFJPDCsKYbn9ddmS0lY45nwNWbRNS7utRkQTDLc1pMFs+Wikdu6sLBBcMTrTYFY/SMoaDychVOV6ijKWydwh1uE76QHOpBhY5lg9sxZYvOjEp2fa2VrDVUr7yulWoOM4u41oIyxXRQgkq4C37wV3BeOZB4JqeQpVi/vRCZob5z8XeVOdlF2lcE7cClBSnQ2Xq+/m1nDhFKA7Wq6CQDAYDlHYfL4iZmp/qkBzSzBq7kOjxtIoK5hBrA/pAVOgaBmNBSPnyrdZD0Svf3qZhgt0Bxz32hjPWIqtzCFVpvm/7K8cpSENp8xwmfjtjTkZ/e+HsLsK/VvEsE3q1Xtzv1RZfBnhVa9ci9qjSad042EC+Y6MzMCmjJ1WvHAPnAgR8vDmkncZh322Jgfcqebq+QzVYlARwNoeZv3YQb1OjYu2EOmkr4nOefH7yGbry7+WcSkwlHJt7mR5DKpmVVPsdTt7CdChJVzW0PTB2ygQR3SSvOpBdjvTTYBBiOL/Ko8sOF6F47m20gesKnTJ3bE+x7w3OyiaGFp/Lx8iUaAc/0M52FvTrH+QkhqVABxO/Jdjl8hRr9tuYXeXpLjOfRaDm/AH05UVHwchA6fk1FP5zInSMSWY+DrwNaZfKLPyk++Qky9xVhDcbXGFdJ5pfskV8op8O6yySO8I9lBpbQ4vtfYdgQ7ORHdz5IH2aorIzIUjnSTpCy9j5cSRkiFAy5rq0JRnDT2AO1aQLPOi3Rq9N5JCXYjTwwLpX7cwpU278lZhqzRBFnd1WZ6EX0v8cAZDGe5wk0DZ6EGXCR//Bo7Kz2If4XK8cXcjhBPl3rlm88Fw29dvZ8ane6p3mbBohKHG19cwkqi6f4f24amRhqCECibP8zZtS4H7zHT9xVxUyFL9cxqpWLxm1/yDbYXbcDQAt4Mmr6C5/LA2v+DbUqm6AlfxYrewiP57Os/ndpJuz66ro6a3StIehP263JF4AVRG7KFGzcw9eMVAA2q++7kqYW86V8pgfbrYeD2p8XVjQppr6d75Sd+bnPMplxhB3zKrhusj4yQrJAAQxhweF1K12G29brE9W9lmxQJBsmCPAxrYS/5ogxRBS6a2EzIC7ewVxTrSAxARX61TlniP3jc8CKNfgEgVHuV8R8ajTF02eGaAEXXDzfJGbmLcZ2O74vKTUm/OQ8hk4y0vIfMvLPXunosKG5R7ceb1GUey7kH4rfInL6WCejX9LCNbaWPD0TwprVY06yvK8JkDeNALHwTAFudeT06W8nggt3SG++f/sxoQ4IfEQScM1e9SWQFMagmmEzOntU4slZz9IT3mFWVYTRfRgXjl0Ic8Tvs3Mfhp+wtlBJ/J1UeyFoEnDvwF4AVF1ju14hrckx7QqX1X+oJS58MX1v9JGJDgk3CSeR1rUM0I4R9obE88Zk8PmNSUfFV2A0va0GDKrQ3WgKi6RoBx0O/d/R1kcvzOappGPQ89o5ttR5LXmA2LWxX1DACz+s8ahBjqz5FGaol0fPIMn3iibcBvFl9CS96xe5KztM/AJrsw+CsY6plKIrxC2GhwEflsBffuszOp6rCqe5nBmdXURZfpQdzXPI/agzQ9ZksqeV0zcNJdzyKjn68uC/IPZfNMdTOdIIwWiVvgMC1iV7rGu1tNOKEqbyuNHTK4c7WgFbyJJoFHk/J/wZtsVtKPQshcm98wmN4aNf8sK0c1HyqYFVzQfbrQC4FhIxYVGj9QXRXvDbl+TTFHKX9hi4UjM8T7+Y37oHhgvrSCFA9LeS/4qsqVMXHALB1wEuFsSIYX+A2DBIsKs6irm/HKMu0po2ClM1EDgQELCWCYVTWlky9Eb3GMJaSGkw4fQSO0CCWhdyR1vy2U313ehPhPoCh9Y1Oyo04pG10DUXpYfzXyVzQ55NcSYifN7tDWf+cEXzLaCdJJl8gnLiKClTeOYnDfPVThojsJ6GyGK0j3rBJ8Dfc6UbRmho66tbJBENmY22cbZteaqhi+vCZV+4e1z+kZrg1VaY645I265YG0YcSgckrUcnJkjbjCJn9bZQLMkryw5RmIRI2t6/kkX7zzFY+vF17R0jtq52mI4IbGNfI95e4f340VvBSO9nl3zD3u7gm/vQWGSSwewpIGtNXo7+bJIRehhmKC2CboOd3Hf8ohy7gyyDiH6k1eNrk8kxi12qBc98p2vpRvS8T4geXwiRQ9nH7Z1xhDqQg9RZhHEbblqz0sJaRpGijWe2fyYUPGJS4dbmIyBObPPdXdYqQLG/FsVRGLD3OMdBlA32OT5hXZxFjEzDfL1d92LyKNnjKQzG8KuvTEGEWsHdGpgOs0IaXq9sHTm6/S45joVp9eRdxlnYu46t05X44arTTpRSxLNmCbPaAwptTrfgfGrRdB/uy3xL1yGLXkEnKSTwczp7C0OuYEAImxYKHXio9zQmRX/+7hM/+XGzq67QFGvRddPUMGIi6JHyOVrncSw7+r17gH6g7MAxUfG7cQNai+OtlXKJBSXb+TrnCAJX6a+MDT3SB3sYnNegEmV20W9lCl1DZjgXmcw3V5sMlGPTb7hNwg3/SvyHdisUZSJytspVw/cEcS0iqecMJohuGFR0qZTpfH1T+uY/9RbZZ5yYyc9zeZE9RRt5Y6NRonkFPTvmgwpMKVDZvNtgnPmlfVQTZZUa6bBwa/VjVlUKrhDzm8p0kbed5PDpzne9TWwCD+49GMDIFTQACYqkrZaufk3pR0rlpfnFaHfYujtvxOWLD4O2x4xNd60GOJTzEUwbBiCIjVyPlasr4kMkYOFMygwJR6XLNeQFkpuEqbqOZrbFKjEYOA0LWS1UP3Ey+mf8qZB16fD2vq0/7TDJR6vWstcag1uYc9P+ZYhBP8AlUKoG2FBAwORBXl2pzGkf79r/6M2WKnl76TheAittCVKzJPyB7MAGEQJ3DKL5min7o9ROPR+urW3BUJUQ5/6o4Q9qs3NMbwVDM+zoSfBkFfyQi76Ts0uosu+adwD1+WNWKLVQYL+/DPVg++QErCANPdnAr5kxppxmjiKh131bvwf4QTGekJ5ZfsAun5fyFJpeI6jTeXzTo//cT2wjxh+V7kfR8TmVwzXfKIQ2qmQOwJ5gpVBJPrTFIPs3itoH7852v4JucpL+Ebmtru1/AbVjyMiMawtE34IoW/Oa4qIS5MyVqHf4P8JzQYzBSxX2er3Cs15sG0uJfllGNyByVYtNFgYpl2zqxZToCpw9HoZO7SaHOb4/n/z00OZN7Eq+70eM4LiDSo1qYgQcAlfoXQudJBHrRp1ouzJOnhZ6Y0vDNwIE0NSk32LQauBxfKNB/blF4YPkVz5+vmEj4LkCeFoDNH6Lw5nvjpFpYYWronsP3e+0fU4b2kAdhSzVdOEjUO35kbiXW8SSfsEoauRZga3+4cWG8PApovaCMePdij3/I3y2eopCL5r6pVHRlxaMvx8CpyBm7KXT5BNfXHlTymY+SHPG1y7N+B8MBzjXi4QNFtB8nLXB5jIkQkRQjKKxu8V/ZIkQJvzI03vUKWaLJ06ZwKO1dVBheC0vXDrJdZhoxmRiAG0blUUTHEjMUvibLjI6/aX6bt5w1E+V4OMA/qtr47XJBe5Po3t+y61HBeO7spwsr6iOXLkj6q+6XTk2MjkMbChOHoadrJsFUWlNO55Y1QQiSPb6jOSLKvToDJkg4e7ue4kRWykmT+vfnhk+fbv9eqqhswCgKXOr5nP83VyMgpur7xx9qdmS0OiHn6KL27y8TyiZfMGCFcSQp+0etfGLzWpRoYnEiLUK53qZXA4VODzjaGS177ENa2Rw5akm1sg/cdKc01vECprxKFa+OEn293jl7/NaIqhxRgTq08Gb1ReEjvOQzdz9inmUpkPoWZwuXNmpJ8VOjGz2iOuV5RJMMKRef2AJFyxM7efqJvXIpqSFv5vW8Gk4sr2u+O+ZjcJryEv8mZz41/Ub+yG3rZWpwZUxhJPPuZVb1OJ3kCtAanRwzbsq/Fjx54/E+Zy3GRWtnWLDzirR0YzZhTVuqZ2YJEd2Qn4qGtidZ9nzew6v2D53UmD66yVk+O2uIv4m7LTY3y/et8IgA/wduL/1UHHSAbe93oIqP4o/kw1U7CSAQoZ7SBMZ4/wxKnKODx8gxqeIzmgYwAL79Xl20JXj6cajxAIWkddJuKkqfEU3jJwoKRE7tltv1YHE3YkAVXPCoOsUV50FL8iniQ0hODoChMj7XPND94+niHuEJ7oJ4+H76doZXP5V1TNJHaOewheF2XO7G+7IJaiRuUcXUnlA/3Tuz2QzfTEwhv4Lfhwx1mbSsbnBaLdtfZqwOdYOuJ3g+ZO+mZCyaTkQuRYtJXeVmFr/9Ln21jUVDWYY9bGTldETIjjSN3U6/AjVsVRZxiPilXDhcxnDSw7G0O+YR3IDgskmUHWD+vXHRLd/wfuXnmQpyHjMycS+XkYnO4KNc9QTqJC3OIGiDSpLishiYc0LtwfBhChIgRsdr6PS7VH5X5NlzJJWQmtjRO9SHaQcdATvJMB8LztDlOzT5eu7wgPXyLbL/yqm+8PQOBSQvrj/NJKorm8K5aEFIEqSQqx4S6R/7uBNCb7dXl9DqZgiQm/wU2PLQqF3o0UHVhMuZERXodmjSxoqYVC1dWlxxJPves2/m0wuWYEeNXm43l1QBzZzudr8EuaJj5JVIOddjlM8/LhlDoci2eIN/O8Z0ldYiXMmr/Ac4nJJfxNMYd7S3p5Tr3f9aULeJBLrwRbcq2MZQpgosTUdaY0JijllSfbJ/22WRg6ejIKE3dGy3hkIS8w2YQi5aRyPutoM6KAa7RH+EreB+7BFcSGY9z9ib2XzsgDQoEk9uaxtMKqywm7oJ1/QzdfQbQjEm9l4RkQN3/YlVBLmKGv1qrRalPtCQytCq5xs5JFZZWnEAh9z6LzVWVaLkOr09QgmhHYELmv9ad4BoneP6GO15IOca9TZEQChqUlbWOKfZeC0iIB+sLBNwwzBnemp1sQMhWYwQwVCEE46sKtjiAOkt0R17lA1c78dDHV/AiH/ycLAk1U2QlZKt+sugpRAs4MTBW3v9bMJjZuxNS0fdb6Okq/0PomKGelSWC5MDBXM2XcD67Vf/bNthdfgP/NW/YjPYOujJkFtrGNeMY2H2AB7sZkKQ6YheFQl1OCUD4c7Wk62QhXXfizNIatTU2WyGGZK52z9FVvaCCeLXGbHhMEAyjEQFkvUTHzvK89HVsUEZSZQ7NNmK2Pu6g8Pb19IfGReHqZgiN0F2GJbZxVlkHgiaOmgum0eyfz/hBO4EIgwio1SUVfkik+TiM5P7JgA7FyVmjkaLjENYYvH8npyj1irCeozvuyMrVcpiuYUuTYzIF0K0zOB5aNMs7OCu9UiQaPjo2bR5GIOGLFLKBDTAafts9iW5PB0J3Sgs8xogWARMiK2+re8hPWbkX+AgcwqDIjfzR7SURN+dhGIY8ShQBVW7CRsQiFDKyUFLxDVfBcJ0LupCEx2coeb4PoE5hD8+QaBQh3z5wQhfOpg08QAoJ9EEI2Ys+QJ31yPkp6CjwVsc5jrtfj55Nq0cS2Lu+jY3VjeKjw9OvfRKCCT4i93MPRU//h+r8ZuK3PVxD54ny6wtOvZ52KtJ3/IYK4IRJwBL3QqmD29U33hmWopgWZlXpXE/AmJlVo+7+FZwvo6OdEEzOWzp9fqb95XRAz0kmLvTDzhzm/bT4qmxcs+2qmU7NO1+QueDZKqbus7K9irHC5o891dq7XEbNcoJD7Uas3lgf5IVmhhMzEuBMEzjwXO2l36JQiiQ76QNLRCXTW6IL4VSHxU995jiQFCFlimNiCIy+8jDW+y+W4eknSQfW2WXwMN1coygsz2d9J+SgLbrtsor8VT7sCxO2Gz0n5KulhIkEvik7sLUGtsDMrhu7cOuHUUeuDgyL6l/qm5FDuhE31bGDi08PLnz5Pm5/uQ7mKDDmJSoZ980ah9W53urow2QaI5zrYq4FsHD+ThgUcimkFIfgLirKZZ/NjI9oPY6jyhHLZh6E06yDc+sUgCXLhKt+NZq/2R+cRyI/RvktrK1TLE7v968Mw/8U1HkBYA1mNovgukS78/NgcCQmMgcCl1JGEyyUjVwUaCpJ5i0U3jB+AAW7UsNxbXBE5iN8KyEQMFKYbhs+1CJFgTkclP+1gVx+pe3I+N4hQaOJnvjYbYQpwofNFOpK7b6xOFzklaCREUnG7K1hOsUqcYkLlsKCqydKBbxh0RAcKCFclNNw00/uu4Ou3IW5q8iXU4NdNl/CyeiWElZeawOCyd5UROTYxkFa8qfghUYi7LKOrybBRig9AQpaOTl22k6qYCXsFKi8UQH2GWGCLUs0n502uM4lpLAs1ITsbXfwtInVQ1/njBABAvxlX7YcXT9+WREMK+r3ncX5NOQK89+iCA/qhnjI7AzFTdX3AKKnrxmvao4ZTXqa655p28uSeOuM6tKgPzSjwDhnzSgx69iBFGes5zv5NH9eVdD6r5qjQVLXbL9Q2DeR+ZSYdwhxqNFmEhRMleQYhYs/Un/01tu15oWLBIZU4PMdwrt8BjNv9NIBY9pAfdo+nym4Bx08V5ZfcKOlumOO6ybopnb187mK25JiyxiEjPFBZWk0amDqL9Qf8OJ39cklpAqTXHXX4pHcDEMwJMz536zeNh/MO4fm6k7DFK4A7H2F16WTJKcRwUR+eTTjPPjAfvg3hupJAyubqaxJsJg43ApWCDXfpnijHEl8gwjIi9kavw6nTxXL9DP/qRr+NDdkett0BmM4IjVhGlyMhs6Q0DPAE5SbcSx8y3/o3lxNkXkQ2Bvtg45gTb7GsGvLqcF+wlb1Ab8IsDUc5fbUVpYSrkmOyr5fwMDfEA0SQZXBl2pGBjFOhxvQ4tK2d//xA+IJD1yHgbDDV3pRv5b95llss0hFGnhZDDut59bLyaqx9AW+lILupkH+DJqd9WFecyEaN+3ZBy+ejfYnaS2PypQHARanfHyzlPGOy9cYIM79v+/Dvj9NNl4eAn4zoOthpKYDU0IB0ulSj5gpeI7ah1Lp/HLpPNCIgPjkQIN/zCfuSpgVcaDkAGRCW4s9Mke/7PDF9P5JHHqIaIPC+eAwrmJJmOPdqCPQazCP62AQqzfDoVwST1qILHLAUH5Z9XWdeuofe8iTSDkdk/Rtj7M6Vfe4v+lKmPrL/EhemPei2thsJyTFL/CfGxytZzBZI6McsRSDLQ9H3UWBiFjBROz4wurdvXL+HFSD6JseC/NN+zJCae1HFKRWrytcsUJo1bpbNeLmyGuX4mEFKkVZ0D58/dhshNhiCIuEcU5bXwI0XAuUj6u6OX+xF3e0yV6v46s7h+koakkoG8S6lvd0NrCsV2jNCyCxhq4UaONqKsBfMS5ApWstI9GihFk4klwVIkveQiaX69bl40eWzf/ENaOyabkKmOYpVOELrDIxhYxw7A0VyTlpadqXP/VBAs1vPho6BdW9nWUXCl7C8Ub1Ezy3Ss3tc42kwCSjuaIx8aD8E+OQistpQfssYzG6u8HNOG9RDugCgtZnPxE+zbuuzxlAmznjxeqXMLYOj5ZPwYZbhV56hrN+j/0t081mCJFVnDiFXf9c+QAeK/HHNhPHme7TC+o1Ov2X9tLmFXn7IpB/GwhJYYN2vC48euMerenpxue5tEsuviB1zhcnY1nHJ0FE5St8uX0uQHBGB6N+YQYtLoB+kpNsJUShKi4ALgU6ld79EnjNqoguJsEQT3dLFCi61wwJ3yEAbbpQDD+xWHSgVNqMGj22i3LKtRAaXCbFAPcBbsihjiGn0C68XOZ9h2Tzq5fYFJ4ktDyxDjheHjyx9G4nFaRmx7tilFqyggQlZT6hwXZyIjNNXPL07cKIU62xAFHn50gLZ03m3U2+hFpO/F+h7tEtlWfGIDqWN0oVSImI+6bmCw830qShrHPIROLHRPKYibSbHz/tjRPd9w+nm6ZX6arPgQMPFxmGkDL1jDCOVVPIAHJFQFRcv+yEW8oqH+XnexVd2AcL1dYpUGUR8hO20YILaJt8prsqGm4rFzf6I31rF19dtvhANIlD65xztPXaThpQXcAYoJnJPTAhfExQpIp5zalJ6d3vMrVLvzHlw6znLcqk+32bElt2eGGw896KEn+vrgm0Ii4pzdc5FmpMrFDQILw6SWF/VsrlDr4cP8ymeYlW6LReuC22RPZ0H/ktdmAt9bsG59KyCxjMLNgFgeHqvWUuZN5Vxqc6fOAyQRXbz9sh05bVGiI+BWm/BzAlmHL5BOslsYOrqg0Cig3xN/dd2WtHFwfYkPXYLOK9xZNNAf9Qxxb7FidqpULIqx31t1hqCL6TJ4u6BYzVZU4rVVZ26+ESTTGvK9Iv5HXIOKLw1xIJLjaRUE5QuovJmUwOllu3PgFVmYaXTpXHs5WfHVQ73nBY/LNz1YpmwcMnnBZudjH5oFFWuDaovKNmskErcQ7Xuc1hZEcqzYoWFBbDoNFZnprPPROE2hKnd3vWrSTdz/HxWGRFZbhKksTJFchgxJSP9UZul4w="/>
  <p:tag name="MEKKOXMLTAGS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jqLMMMTprJfiFfMfF2PNjqv17fihSZHpStDl/JOAZ2wI38pPu1UA/lNs5A7hPV4jh4Ks9EDSos8em7nPrAzkRqlrHalOq0JSP2eSTIURa7LkwmscfGnojZbWptcp1mRPlCLflta9CJtRcgk4WCnsFOpw3iSn0iqWWVnRJoASL5I0z7Al/YdCj1NDPz9H70dFT7dN722Fmicmg6oTNCCEPyaamRozw1IsD5cKAf3YgDI2+bzHOsZ8TMuomlyIjp8X9aQziRaP6pycIhjIRR7q2eQ5hCOX2NZ79r+UJfZQMQXS4sHDpDHKvboEId9VeLz1UJd+Q25S4WEwAj4MYWqpfbNe3VeH5V1yw1kHpGTOu/XPNdSR5hh73E7XZbVEr1Dzqtp4TCom4v+WlZEU9RjHK7wRYA1U7LoRjV8kGzL2M7VOsx2fIGHwcnidkvjTcPBTfAbCG6BBQUFpl1TQa6YD4v6WaDybmSsgfavWTd17WoHaLeQUYmcPnnASNJRFvA7E8wYWeWiGXfZJLANMmbL9sztEHBsUfE6I5fodKDvNUAb11WcE7tUKCpRgcLmShXIRg/Xf8BBzCk2t4p1ZR4WSvLE2W10A5K+QMLKQUdNSSBDqQyGm3w+kbb+voSd5wCkL4TTq2vpdFhJrEphHy/rvU9zGzF0jl4/wNoErZQ65BQ8J0w1+kcKxeL8VvJAs3J0dBHovGkr3cq3r9KNDqMCV0ZezNVEwOcWfxkzStg9NIZ7AKEsCq5VUWFEmMAUx0t5fUyjBjlmacj1o+ysZ1zZ6mdY4ift10hk9Pb8lYL/12Ut52NPAv4Ck3jprI6hnEEVldoV/pQ3mbpyhQb7Gfj4Fegkcwkh9dyNbyhRPTxw99uSy1U/Yn3MYNCgrNdY6pWZfa8vBc7wcqVIwDVdRx6Q2vL1UT2VTCxgHyUlgzwzI3Kpa3Ta+WcZFTDKlpo7wHAjmb+Xnpg4Dsj23btl5WdinazsTKxAN8MeUOcgL/zb4/2oSjjc2O9JXwlBLvV5xiewLswt6MdXU7PD4WjHI4BQ4+FJa5iF0Wu/K7hL9xkPoDVaH5NSkGTc7iKys5lgh1dOPf2lPLv322tmH+OOHnH2ef3UapLWgzdS+bOjdzmYq4jmksqwycr1xLurwflvlRgcJoPl8S1wFtvp0UO8VS+hHOvtGrg6GNSrBP9ndW56I4G4xm/CSoRpqvy9sxqprUSr6+05pbwxgpl/rb3jSkEjHIW3tBo1EQZ39P94s/cBHbunSONk4qL7AOyTKDp7oevBoRxLRZ5jtqG5iNgd8XuA1QqsLbvJIqrQM9AAJO+VBOFV1+B4LvnVRKCbqfyF6BulzivXgaLExO3QIlRf1hz0KmHhw4UX3xH/9I2Kc3Tkb++WShAwW3wtr8GMuepx/3OEx9/zhmJv4XjmEG88yj3NXm1Vlz2lu64Sypedg8v+2Gasf6A2dCh3yDybQHs1PEiai5gyb3W3NOMc+y3rjabErK5Agv4M/UZUDrXd5ENPd5mxechTA0Xill6iMECw8OigJYs07dqdRm04QuZts0LmDpYUZ8cPFRww7yyiKCJfohXh37x+zv2XyKk1HTGQYnZFlft5walOq7TYRTmWxGn1Czj6f4WRJoSEY4qfy2e5oibV/IUaLmuBkXwE0pOHiCZN+UK74nvwPYYJzpndEmRKxuR0e6zY0Gl2rBiHLgK951cckWu80Y+Apv4EzaoAKYwnNwRijzXMbrhIbZ8u1Q8hOXvhrjMaS+PC9tz67xBtKIM+pzozjrMtmTyEsmf23eSbXBIxZDs/tb3lX+X4rW85SRpKLoO4OHczv9XYVutPk4xpYdmf81/UXLBr/waTPX2HB6mwj+MpfH1tW3U+Q2QlfCxhG9VdbHxrm0WVA1uyVYqKKrgdEU9Ye2szKQn41/6zABbfCxEitvkSYFpC3LUBCi2U/wwDt9/23++m2VomWecbMqm6BCIWA6KQOv7C+nei15ZooQMDdhzBFOU7fZCEiUirnm3GZu7hghgXR5xPc+nqLzImhGAsNPLhPUiKpoqYHSQhEu7dyEFtTE0wGvVld2vQ5DGnXq4pfXmIv/dKsBBKGFodme6KuxgMc6LuKpyuw3n+hXmZNGYXTc9689TAfVb2pPrMJ3wVkiwA0IEn9u6JejNCrI9HmKQbYQwdEQbgJv91v9B2MpVzFLxlJucm0//wxoUPcp+OR8Weeq10r4Gz9cYhOwtHxoMm8pz1yRp5+3Dm0kR1lid+vmHRmYaPTrFnFzaDCiI6FLhjA1iG3yhJO1QkUKFFwZB8GDiq2UY2rEYeR5xdTazfFOdIDN5PyXZZq/t9Pt5gbFOGNw62zYvK4wKZgmyNyHRfKM8Z6BGMpeEY/MQgO4R/VKA7qaeZxk/n/ym7+lY40Mh/uejafb6kiUA5TH4muiDjHYqX1axsyRcg4luRKU0Pw3HbMQRYNad7BIdcH62Nr0aS4XC6egVbxnTaW8Hos4l3+zw7U/XaPNdixjODYNKVQzrFaDdohrIJ9yIuL8IY2M4LkBTrMJqvCZkK7SL1aRUte6gKlpHk1IO52vKkYA3EGHBjvTEOVmSiFLpvxmk34ZhHQApgqPqpdKwK2QBsZ3w96YLSrt6/cBDOjK8FchsDsZ7Ee6FCGR/Wo92Qe4vdUD5MJG9pxpgmvSh5KMuosc/vZJWB2Ew12kF//bb3M/jcKjzWXHExnuu1TiVrvGJ1Y3IRVBTgDDOa/JJUoNyxAaje8681yFLYdcizN6vE1YyuAyoehSdhyv/k+sY2IfTW9jpjDfnCMefKnlQ2cBeyQKMXSz7kjOOyrutzQX0EoPHKA2v/F4tZTsLg0axT6P8pqjMMy1BkhrpP6FpR4DgZV5sMp4KesqUpSDB0N7lDApqMLZSytiyrJUGzOe/VSBxmWoJtSnvdgcUFMQdLHd/qCDaHls+iSAydcBC2PqvKIiInk4PKK0Zd12++mbbB0cFv7mxvVs3/j5dHYLK0a/Y0aOyRna9i9/3nJp7o20c31c5Nkf5dXLiH11P+5cU2ceZYxJP8DrG3RYcyopFkULkzrk5Srv4kNnadbWI5dCr5IFfXQoQ45VadRImnCh455pxW0OgnnL1douCBGbNWKz98AALf5xcaPDsPRcXQ6P0QDrkV8KcPPALT6JOjAS5GGXMF8ohpdmJrXJ42t6sg03sTCc1MhA7oErOq1vfmXpM3UPQ17u0SxOcnUS6CAuP8scFfqrjEGK8Gn88WQOr+59EkUQp1ADh6w7Oqb8FAvFbtRJbR0HtQ2BIeKZRIJBOYp0r5fj5z+a9f7XoBcT9JqDdYs6SEb+eqWWRPt+PgxOelSxmjBchu99IuKyFDVWOcrg/CCfwvd8flwe8IJukgXczgoVjz16SSf+S9oKB9NQ5GL0ztkWTcHJr+FaDaRbOYxhF1GrTgQmN6SS0k9tbtpS9e5iaPd16DrFTAn29amCwVe+YyKQGzBwAP1wm0Nx7ioE94upS3cImLQFEjPN0SIdy8Q0l2+Wb/DiULGP5cwuQJuLKv/T3vT2cNbUhqWsYZN2f5WvXetKeziIFizeppZxtOIZxp69QSm6hf5UwMEQrpShmMq5C5bolpYAW1Kb3W/8+nsLi/t6qH7s5MW6ApEEE23A9MOcMHTfPaQjqrQhYwJCcRXeC1UP/ZlNuZPjVYUiBEJJhB02vQLXzItx7VGJOKJTUszJB+zznpXabuTJZKcZ7pnwyx29X6hiX4qq2I1W44R3Va5M1kWo98XZOFe6T326W5EqWRBe0nhDXfFsx3XK3GDfEE7h0V+ZndJ2KIcgo1NvuzHmR2C9FHXepTZgIMqg972mfFYurNd1x/Fpzzx4PpPXgsYuz/swEPu6xDsJl1jMR2OGJzl2+ufyQF/JawbRuUnopOWar9NkDcmY5DiYbQnKhXNXDhKACO//x0blNoBFoYkTyH3WvRS3gPdeQM5K+sbt21NWpQSNTPuG+MDFtl6Q68kxGaB7w9hA1OTlwTLCsM68f/ubTeYYON1eM9Tv/sGCLMI20Ku/FMGWucndw5EKjNb8xkKRbM4iI+FihEwKXzL37ZInPPeG2oe4WS0sEE18dzgf5Pjix0wnFjrPo8md94j01w4vgNp29xl59Pr2OQcJ089N/6G/axX+gh0WPPVYVywxP5D39rorM5daRFhuKfSFQmAhKdkMA1iiuNGANGpUEvUzx2AJmlIVJfOV7TB+M8fcPdfN9VW/NYN36lUxkynm2A3tuapZxOrX6ec00xo9NQGi3ooYwxtppQWmru9P27Qx9KMMEpmDh+lPVa/xkGvq9b6SfVlIx6SLXls3+Crj3fy+xvXncqFeMWDF8Qc38lZ1u73bHRXRrwHZETLxLmNYZ0k8wF9EUXCzi5edGdD2+25VMHGs9pzyfebtpi6XAOWqJQKYGMRM8Qpr2CategFa3ALTR6xYwMNSlTZ2JcHVbyZnt69AxRdyeB8jlpQHqRfy/L6R9fiMU+tVvS/dNAOV+i9N7A8DQ8hY9oCQsltPBOGwaeGBqzGzbbyYV+W6Sp2D5LbdfjHTay4G3PtEWqha3WEaHEcP4UPrW/PyqwV9MUikKiUwtQOTrEk9YVYa3kYPmTAO1/qQ9iiFELztZHhm5mIb89u+Ff0M+XZwQ6QSnz1c3lJwGoV4OnyfDCjdhuAMdKeGqh3U5bVZ9OcO4/U/pOPpvF7woiO9sITseNysEf8HUqNLdw0eCMOAxVJThxxyiTGzztME+Ikv1Qre+ciGOTg62TtJSLTbDQOZalwlw8TqIaZ3hIEOo/nbYeXlk2ZocJqpD/aDAk1IL8CGajE9CTFKqU/fgjrvIF60RPN04T04dSAeEUz+C+1mGvSYXiuGA/OM14vOHOwFj1E/oVbyo9TtYOdyfCNplCWHacJsmesVJj3cyq509qpPl6YxxFuEitwXWM5fkOSNW8buzK3qEA/JIW9jJanhlbeyqWHoKNVyL/fz6J0vNt5BBrTAqvTWRD11RtQkBEJv0JKjgFY3lmxKTnMesln3/SQiirlNnEMlUo97Jk+OsaopgNEZXTRML9wgUq/i+MkM6GWEHB1jeE+5wIE0ODn7PYq+vKaeAPlny9mS3F31ZexkgVsaQXEJS10HNt1+y9k6Utu+IAV2/l/X6u7CEupSR3xymb1C2yCuB5r9fWdUb4GUe93S3YMFC8d0eXEr8dGLU9KR0DzSEVonZtrrA6jcntuS+tuiIZT4VzS5eFQ+r+ix7p9fcX6oIpa9SbJFzVS16Ioq3+iIUxHI8975aCVM1uPYX5ob0doGNJ1FqVR7v0OAGSGuUmDndteTu+EMi8LsPzcehhZQhwrU1SJydPzJOa7DlmbjyBNUrFgZ8AWVe6Hz3dU7KHKGdaNkIaRp7LiJt0rnMeXSZ37xmE3mGLNzalqJu+4IfmnJgkfBq+dGP5N1hjqHFRyVkkvN1bJWcyKE7gVvUSKOsKmK708QAzYs/R641PDAG+y0F4OlW1kkjp8PUjA+rbSAg304eJ2SURZj8dtCrTcSf5fDYhaRBA9ZVyMvfFN/ACNBmveu/wEe9Wg1+0VpWP77CWGNqIQ/pH+ZHuf9WVb/KBJUqIte3V7vYrE7Nv/Obg8bNQqjSTVkJmTk4HBtRQkqYIcJwujWt4WGrtrqmWG9BENuGRC+LA/OzsZHFezxdsbNgT0sGZ39DrTGPzUiDJwzY4SjJQMhBKrPLHx5VDj4XVTQBqu3LXuQRscQZofGkO7tcM5WiFvmVHi6IQXbmH3lDh42LhvtpDx+259rcw86zknq6pa5/NI3ht3W6bWH8hGsBB9n2uajs7PUnOwGyotknNKtg1nQjDhtMjpcm6oCLp8DrSyn5L6JKxS7YwPYPq0Jz2sItp+THutLBIC5B7yLtPLLWIlxyU7Vdu3kBEliQfR9AGnKSaZcOLUBnrfGm1JWSoOr0EnUDdBszBbpydPRDxUmAh1iyZqwpBgF+0uPQyMk8HQ0gt5ghb/11s+NxXfQ9UiFHHXHkmAScSepYH2JDfQK6f3o2dh6HQQsfjb6zQTahC5z4x9T7YWBfp71vOFJhUSyWnIGbIzkg6qiKjWy3xdw/z2ZNwy3afZBw9SLUStbD2V0Go9DHlZTnE6N67S4wiTEQaT0ctAkfaruc+JJaO1i+RvHb6tOTUgW8mgQZyUAlvxxbt2pHk0sJGzIssxTrAWw94jD194xmwCAutMiprHLMmJDjUGjpsU1hyISAshI1Z3bjflczXABjiNZiCiqQhlYJ/KcVKA5gKEsrPxvyCILVcGd4MUK2Ri2TWzUXtp6EURiSnR3R5h52ZzqP0DabIFWHxEEsUg4hwqNioOhdPwIzMIHjdkA9TZpWBkvX5rmrVo0KNtD4m2/hv+9NPYq5F4dfbhTYkzsiH1HLKlKDxn1Kp15YmBA1GNvOH0MlkYN7c5qbgHhtODTqFf3RIkojAluC6yguMT7DFz5ZiO42TljVk18DNAjCwGltuSBCucNyWXG7XUS1OOfvGN+rryt6AkfjtkbYYWH4U8pqaq2gDuTMvHOjwJ6BpcskWyPSAdNCJLjnlhKR7f2hhXd+AVC/vbBuDYYzI7YB9FPGMDoFyjI8+/JnlE+Tc0SFkdt7cRcvtPebY5NzQbJQ/3th6YhbIOzoFZC130ezqFruyrplk065wRtkBOLn95kscQma0BuzN/caYYLWU/1qBnLwMwa+iKV8sLECqXkSmcrMORLXLnhbX+TFp3VOlq3IoVkEhIFPjIkFam1DWcGb5+wfhKgCMbp+wroOk32MPMnP8z6hzNCUh9h3bPi34Mn8LOOfPuTEm6YuSK4FMrrZcgzCypXw0QtVNH2IqUquKtbEBgN54YQbS2/8AuX7/WET4fwQUJ/FxK8bZ99LboPceJG9F+XwsKa9q7R7fSmnbmsb5A8Ga5NNe6IX3CWsH0qoo0xh06TOyUuIPAG0rqj4CGVerrE386Fu80yPPyh4MzBprNkt/LVCZCOpsC7AUre8Gju9oRg+087mkiZdSgG9j1A/tp1smZxJqn3XGhnaYnoQEtR3sP4BzQy1FM8Af8PJm7pM0a/DsqzECaGCxaLCgLNGSTnKNUV/x6ALTTRxkOcPLguY3N67Vla2MeuYtQ0iRR+aCxjT333jQc54P29MMqsTiY3eyHs3XmfAXu1UidfWFelkE7cjfdJ/ADzjs5z3UlLHGBKYqQBsoL5V37GaMjUu1NHahGyCJN8i764v/ybl9KwAhxSsLm9zhi6LWmX0WV2wqXkLkfWDyr1qjH2TatnqvoVIm1iMBNanWRoxi2GLvmiHck4VRFc7rD4SwvklOuHRbMtM806FwcKY4/wMEGNGKcxtMlHzJ2hVQi/vpsrPYDyDVNeVsisCObX/PAkwUr+xCf3ANOAJmVhc+rHKMqbBNSPaYe/goYPo2dwzmY16faHlhzKYhmNGJuH+Dv2gKMa3uwJ8t5b2Pd2puADbiay23IBGrfvz2n4AxfSH4QL1hgW+LqexDWxapinQ75XhKkvn3TQoXLNKgXsTQQcRLq3BiiMSBLO5WPO3Q2cRIq6Q9vgte1gmBQIPqDTEq5seN/nNW9Wtg5LJwQ3F1zGEcb7cprT2sLZ4WPbmh0VIiA3IbeA23g9DS4yCRwbwOCib30Y1CFJAL0LF/hvf3Usdb9nSa4uePEpkMYU+eIEEbEX2iP0ZEETmKHW7EDMq1XSsDWBRsiSWvxms9bRw6gjJkOAm6bjD6gEVtWaMpvhIY0N27GH+e++J1/U6xhzQA0SyQkicO5M3z40hrWq6E5Tj1iVOJuoLUswhmBt7ab8TUj7JJ8kdKk17VBy0AMnKXwpA8g+ib2VYz3e50sJWVKXKJpV/RihgaMYO1emJhbkHmAldG6vqYfQHLzttTymZEtfz2Tu4ynNu5L8uQWpEOYajVVLRTWQlSkSw97W+jL66IMELrWvBlVDLVMH37rEtZ4Z8udEbp6MF4lugEkJ2TazlJ8kY5nsdPM3aCCuOA7gzbK+LhDUzDbeiatXBGQMKfGz29xpxu1dlImIfumNtghmmSVr4GubdXz/6RztEiryUo06t7ZH60sECwMZEGhbuZUNucm63GixqrucOV7s2sp3aBXbyoLjMl6T7h/skyTa7fG2MU6STXNp8xpLPai1oPpa/6oW1MllL42N72uNOQDw0vnjGYSee8X00sHbVfcPcJrGVzqMgGySyS4LdU4LSmkbgyJLyqaqlqx+BCaAapsU99QGkTePFuIibW8lawdNtqOyABl0YIUfYD/PuYeU1xyMXO8uDDPXs1gOoOAI695UMsUc7ZrRyy5U/1thhct06XoyhISOi7N9UULMvjo4zroVu5Nwn9TXqYL2oubDDzBHbWsUP+QWPjoBJKNyAANYyBhlIJAnIaCl7dYdh2iWECW+/oW3VISGdgNFQfkuzHhiFAJnro/JzcIvRpn4NTVhdDwhk4Pcu8nY/jIY8g6FRWbMVAfJYiW/AOLsVJFZwikDexKMH+tbxELuLmj5ecuR2nSl3cHeNl8YVFLKDGoa5leFbRTUTW4UvQkcqai+32B87nmWY/L2xzUgiPOjg9TBXApzgQN/CZxW5ZJuUrF7QwoBVpWBBKp/E9TaHzEQc4SuLrNej7iMrI/GBSafph7h3Xn5m0Ui0VmwJF5NT7w+EVsfaLqmILbCgGAN/G67WoOihBc7YXzhoV8s72Q3LiUYjrAmlyRLFRI2N1rqqiIxk31bpoVisUumkfKxbGMVGb+M2CnNco2FXq0mhpa/iMRPSg22dLALLzJQcuMupA18HFbfE6vM+8z/mv3pKSLXYgdK3Qf9x8tx4wcJhw0/E81hgzveorpY+a8nikP8WRRYurHuOJD41McRTI1p7anu1G35TBrqg23BgczBVWyfaPwy23Blakxu5Cp1+hy+PIYyNdkpP6KgCbwZcm+058tSc++JOwklrIzyfbBeynovVp5hkUZNyG8eb7tPKFRsZcILQHGgsZbib/dR+75FjkkNhwG4G0/Lz/Yl9OrLlDKPgZxGeOvQg+fX0FCF8O/lZlTWXCQl6XsM1E3niQh7Y/zQXWER5LbaWv/Vwoc/BkZwM+vkJr/MsG+PmSqikHM59JXpVlhxvEaLzNWV59qOdpKPESV53CVlDr2bFl/UyhMT/nHjjOCid8EZ/xXgrB9GoYxqcClktJ+CM2gbRfznpru/NUCe7gMO/Ou6bXdM6iDUYr52/N8H6/Z1DHzrj37ULIqZrWRuamopkbwrivsIiowhhQIKl3BO2G8taGiFDbCq/Q+Z8mjDUtTEkIxPMc7vGi5zTv1W7Dg2WJ7qfoNAdgs3kXNlCA8fqiymzjfIO7z9msfHfhhgqwngdz5+ERCTO0dKLuoRfeVK4Ijnm1/sVUgUnlNup+1dywEDnirKUtUHmR/3jmp89SUlrehthOIPuymuugh5dPrdERJZ6vUupuQ0BpiB/GUXT3+iFfwW0pGYfS4Q0raLnv1Lg1v10CDRtNRiJkVur02ceprlF4eH27eIoFFkAq9WdOnsIf/ECLHWuhyOhZRgnSX2g+Mckf1Lfz5Ux4uHCOekUGTSQhLj5+EkjWQKl/lxHM7BfFfJqy132m9F0xyFGIqXIkf4KpMD3OilnRjYrSZwb2Qj4L1X98+zK0K4Y3IwdfzEdgWDmu9uAn2A/mWbKlsBTpbfBKEhcgvgVjklqNP2Uph/homVIvmreSAnWgGo8W3+q0yLRvVW418ZnEFOFNCI9XDD1RQMe2OggYcRpOe/HzU70KY7PhHdD+N50H14dyJVHTHlMi7mdygDGMncIe14VBWGFHQklKR0rXA2FNWs6M0on/u+2NAdmOCf6cqzgIEP2mcOHWLVpa3sQVbA/R72S5C12y+t1eKaBXvT9WZEeWOjtZqqwdNlU0ag57XDxHpov/uWZPegdh/slYx0omVWOLDsun6SMX9S4hQTT/oYLNdXqlKBsbvUYF36sfN5U252qalj2ugFUF3NkMqT2nkFJru2OKtC6HImaWqVB9RJ6wnEy2o04f/H6Qv2gzm/07B50SeLC4s5HmmfiAZ8pIdsQ6y2PY1kxGb1QoXYls6IrOfDfnlgLCgoB4k5+qSfCfCqDM0ApJFJrcE0rq/UKkz+aT6Of4C1MCdqZq/CYiMpmEBStjOlKWbdRm+ezZUJ368XerKo0AZ/sFOrT7bkgWEj4dyxVwsQ5p7YpaOPT0jiBm4S7AM8lWYIHs/TdqWzNpzoOQBhyrBzmhNZtb/psW8++Pt5XUcnjMLworVdo+UR/yfmWl7zSUsT76fPV2G+ehaBVWH0HD6oTi9hC3WGhSLTah653zrh4nwyPLJEwMXCHac6BIV+HjJm9H1oRb1tAOMZIVWUalpK7eSSHx83aNyIw7RKqspf4Fr7fCjZ2px3AyWV+DRbrxsPJZaL93x2k7wvTSOBTeOxVRZkSUVJ9UaBmAD++DR38f3C8LOL8evvq0H5S1o+LfNiQ8Y68K3QqDaZ0SqhymenG/8FFyg+psEKgjsLAhAXBZtULw4M4L7do0J0IIS5RYYNc5EqndUp3aKRF1XyfV8rbLlD07fy6juCYg5GD8a1f4vj9KU6qcqgyd+v6MeQRmAiRo4AHURo0T2xfCufEshO72csbTwbfNxl4bwVwsyNJjMLrM4tXpvqzCKWjucOg0XRdFQHQ+N4zT3xbOYFNVDWWJMnuUHVwxRMoLKVQbvP/TigB2Vpcdfjxd3r03C+itZ+G94gNr06E1Q8AYpDd+QEUDFR4ZUXbUVfKrxXN1w+vqRbW9OhV9pAJ+g/VV/h2QVNylfspul7mTBf6kXK96lfv3Hde8VAAdaq9oFS7ADCXjLI5qMSKqBg5RZ0VRqCNbtH5K+lof3HxDi2fYv072SA73HqkjZo//2vvVVLXKmTBtyqT3tkqgm13AZL+UdZrVVdCIma0cXrNWXwvmmONt8nHE4RxDRGePYRXFqkb/AVC1gfpa+H5rNmPgY/fK9qCUYLuTsR9kDWGSULtgkErdnDCWcuXp5PyA6OucuVmxrb3n2L2OHXg63z1/d7mtg4l8lZyWEK32P+cu4OCjXEUjGIdR3elUblut74JxMU2QAfxfruM5uhO9kcuBdS1VZJfl0JCr5q1E1+si+q1j3jFiCVgSYqRkWpR5P72A2IMM0XO0YnsxE/b0nFaTg72lRKZtL7EMvSG1uCJGVIA2r+FLTeO9CyfvRLv1Sx2OYK3PHTP355BMzKkUDGdmLZNFL6y6pz8aFcy2YkP6oj2ieJ0nwXPZEBj0KQqp1Fsb/rpo5Im5yeY/+tTB/gjbnEdKJST4AD28fRAqR3HWu7xbqv+st/XX+3avoJslWN6X3/MgUOsqP6IY5nGrkxBNd7kQ0LI6znCXPHiiNoQHXgGkZOTM7oZ9BsBQTNoNOHf342Zmc0xkUs71/xzimUZRhri+hcKhZbXnFNtHHPj4iY077Y5kSd0sM3sfjLa65N58hWenXknXff4rjJ0x1EMPKpoxNVBQ7SIr2m7Gm3V7zkKcqGThwnAbg4lgw2ZaGWeZ9E57TkB2Ts3srbM6iBIDa3o7lLrlhbirOX2tks11NxAPTRau6DE05Z0OQw4I07zxMcByCwePLyv/qeLxqv+P+Bq2G0sihcASLP8pEki3vDZOsl4aCGKmH4yLGdZPhAh8S/88FXS2nAG6F0ltVslfjTb1+S6B3kCnIeyWoQE+RLUUtx4P1CmMBVgjCly8g3RGjXFs2CT28aQ8sxjt3vvHWIEZSZMeufZrXBBq0BHSncmALhzRQZzDP/gfVBItefwb8i+CEMPd8VjlFHuTYKXVya1WjahKodTzxYqfCicXQ+chilDDXuJ+MTWsmc3pwwO1Te3UHM7y2s7je877Jj0ZZ2z6wjse/yjn7Q25YPP2KRPxMclAHzgXWmfYCjM3+HCOEGAmppK4UdNjQqpjLvphS5r3++1tY110UKbe08ZvB7cIPlSXoRzxT/cBca9plrVaf6S6MTvORmX043m8fGpGBEIWuKucVYxiXWZG5rkEPTHrETwVlgDn2t+4vyjI6xsRWSxVgsRG/9ynfmZXAJYeYzKfeOA3WIhuwmUmY6SlG0xIymfkE+yj2tPQCWBGsRCODUAX7wxBXeK7QPve33ViFkto7mbRgTn1PMoF+R5b0rPNgklP39/Sp8ag+QbbYSp0Y82yjGz7nhGAtETN7TMJdp6ylNxf5rbr+KTrIM4MNNVRe6IHIL79YvndmBdMD+HSjBy/HNWO/+1JOh2d0wC4ut9emeobd6gJEBmEFfiPpbPu0Wk/OmtBhquB/FJFbpshyHS60lbAWJobBYS729crexA/eEsobSfhmUlYNT67Y8FU6Hhbrie0EFTYMkfh8tFBtffBMhzvV6+yRyklANQBmpyA384hD0j2eO40avNp/elBFwMcpOj00WjMvs1VHlEvslVqc04rIwHIGp1X9LCvM+bhi7UPTJ9VSW1uaYQ99kGakrriSSUMbt0O2DA8IdSyEBn+TZMiILQdzC4eVU2k70S9FkA+dIKnvmKQuye/6lj20+my88GA0XDRMhR3mcJo8TCGJho5YEuYyiwZnnpks5IUUQA9WZo0Rm5/58y9rsYchTYQyp8o8kHpkr5gEyAQle1ikDGjW/L6g+4qLNElFbEZe08foa9e8pjc+UINLVIHIXJ+TG3/8JGDU9+PfgowK4zm2HKpVO77v2n2cn+dnMpPnhcR7OZHS/1PMQQ8XBdB+BY/wy58ikeAAxI6RPDOkoC0dr1g7KueyZVgBIZWBY6B0XwNo1QtznSJn3HZeokJllKUx2jvFuI2+GgsBrodKNaPZeIvtv5eojazhNBfJQEOQm5d3kfnGQ6zZuuUlMzzUSomhTIm0X1NxGqk5W4F4dx+kwNJkp5/+d4V8LvLT9EeGSVjANVUBezpd4Ne+SGQ8mIrFTfgK9ZgWTdYSql/eODD8r+KplqBGLqHmvHCMxxab71Cwrunbvh9nAiv/vUuMO3WjhnLfeysuvw6sutfT3ZkBErO7UOFKLw6nhRp/SkIOFTfcBiJfeZ53aQ0SIAO1kf8vgcYt1jfMfqnFZnVgLo/zgMdzx4TpTlP25WN9JmNdDj1g4hBg6zcS4gwOsDRAqqHyV8sbu+MxvXSYmcJuWnnYvbk8G6MG65sPBxFRmMpf51indo9ZiKodBaB/n74t29hZpwtwmdd3xFxtawBRzj7ZfhlYzsUCRVnFQUq1I/vRrcp6ZDYPKO0ktFOztsVWOqysGroEablRXhwMNOOjS0prEigIRieU32aPnwxXQOxOF6ChvZa2pqR1/ReMurFdA6huli24xUkOQe0OmOOcP1i2n3ptTxhhipHxGweq+6Wmet56p1yJJ12dbpsnVJzRx1epwP7ZMQB7aG6uXrlm7BZwNJKipY07rncUk59Lf/h0pkkGSvjJpuHcXKDU/+ATLQOalPMyq6D5tVx4FrqKg3UKnShh7zfYa8aLiMJTJTt5LkoL+ZobqXnR3LpAyZ+ufSGVot1+nOwELfIq1LGjAax3Uce1ZG+OlNPp0aZzOKeqksjm6lPeY4L7VPmIxW3tq8HabEauauCcEAV+fqnNL6to/GJ3LUrhiUnBFdTeVisU1Z5kMJ+Fpev/n1Ty10An6gb048R7XXV/pCTrxUktv/T1ODp1UpPSWMuLMPjgZ/XgfJhGyOqcsaVMbD+4RDh8XxAc8VYfL9VeDpK25VZteiZ4y1cC+2kN0yZ6pjJyefPA07UlWZmE+EbtxsDsbmUS987dul8IDvgsQav5OEaIHcFINFEdBxOrLR269Rzy2B9SiXACtPsFDNfC6Erz5bquxuIlwCkaG4NStTIxLh9Dzwzp753TW9rvY8hGITnWVpT5O7lRN19x+SroI54vyUvgUO20GN4fmHYi+fPqxXa73oMhXskKtw8cNtgwzt1yWYhbR92gSnTuuSrLbG2Fu4xxRXEDuR3f1YUbgDLEihNMPulmJPTnlBpiZj3ofoiUibdZjk09IKjGl8jDAwXBy4Jw1TvSXa++XYzfGZZWF4gj/1/rEDs51Ql84rFZVGEPW3GlMjvRNUPjy8jGNNrz08QoCldweGhWLphKiTyk9rPdI6Z6ERXJCD4ep5nW5xd2qGUkl/1VAXixd4oqW3H3+dT6/CDOMJo8q6d0pTa4zHQrLjtmghS5Pgw/OV6loPhVjIt1xe1VefOBoWxpCOcz3Vp8/pbAw0pEtaKz6qgPt8q3HyxwXjxmaK7cyQvVRRjA7+VocgN0l9YLz+EU72v9XaaoDE+Hqetw+BkzgFnETpqRrYtrwyCaQp4tjjr53EJxANMnjM8oPg+pt14uq2RqYoRmGZr3yZSv7PMcIIOd0UjFXFKZdkqxKnKLASNdjp4i0eBlW4+Pu56maiDEdUK4M/BbynZ7qbHqsCNVHwoSZHlDz1rt1QRxSih8ow1Gox2Eb1YJgBbS17qdXcoEIZU29zCmbVZN0H6gS2TWkIUWnppl619RDBY+PKZDcxHDey0zh6UGjSi/lvaWE+HCLeVhRRNbOoHxZtrHJfPhdNgt1/iORLnQEpOte1Cjzleirp2X8fkFjjWKQVSm+6eC++oQImgIL3LWfPXfiybGsaTz3E0RqrvTuh4YKnYJK8L62B59kzAZtpnvP6XJ64cptCLSFw9Dwp/99n3Ecxb/gKsuYDGIcB9zvrXk4CGtEMsBSUEGxL8I5x+6uN8JbSp9IN8e8WGYHFFWQRItwn7MgR1Ga7A74vO3tK7O7ry6ZqBhDoL1Ri7f/QG2jzG+ks5yOr+I3siWQvmQqZ4KoBRqLq0DbwmjrmuUpFKXN7fC9ysxaZUl6kJeiOqMOIKpFsCg8FDivWt35+GvoTokTcL12+fux2g1ZXFv9abHiuJFkRMLLtIVOWlvLiRiSCmFZOEfydUMGS3HIL2ptem/SmFVIJFSYCjk8aj/gyeUDpy3JQiu+Ob3EX6dlVBs9bNw++jFDKT0ZfazwVr/jGpo9zMTNlh3rpjf9InuWxBESNsNeetbB1Ko2ZBi61fsLMWORoDaDjnQfCY++wfHaFpcY/I1+qnPZwt1Cyj4Hy7MfdFt2+S83V2+YhqtKf6t/dTx/qnSFPdGpuywrz4HgVnTVyQtOMGZmHPpj0PPtSIVnJcrGPqvTw1H8GmkJdUtJbuta5+Quv0ep4v7JoOhQJ5FeA5GhJWjZNwFmGhp0roOSC40wNMJaaf1k3M8GDVgj6dffvoxvyI5Fib49avDuhw2JlVaQJnX2Ag7WWMpauA01d6RugI1SJ8trS9sugGWhOA3cnXbgNSQE8WCfrsVrMY8f9TrAcd4VjLx+ZkfxJQjqUDBXNu+UZ3YuJlwRcuq94c1B8KkDM3Qdghqgw+Ss7Uq1WUEnWh9oRuE19jGDnaUrjWWshBDZCPYliwaYid09ogNv1mVZd8I3tWUjA16Wdl02YdCfrlHdxNGNvrjN/rX9cu4xTxDzkzuKJ3nVojEARZ7VSybsW2LE0kM/YVZdmZUtEIN/0u71NltD8mULZjUo2x2H+cZZfuW4HD8pxw8XeWKb+6wib355EN7aaBnGIGQ5PjQLDdWIQFtp2XHi9TRm8qa4Y69BOlBDd1dQacLeUYM+sLmsEH7BrVLZIVExp+yVbxsUjBEOj1QYrcyXFqa4bc+5qtOEPqCDbtVYnYIY179r7U+B9T5xkRCiGZh4h2xj0Bu89R2+PkXF+95cQkJxqNtwAOGMpgMHvQyqbjg2EEsFER9kSocEwNC2/1IXXCeGcJhfpFXBm3eAZSSTcfa6BTYAPPRKJKXMxGkhP79drCbAFGX8mZx8z4rBwYZi8PQuN5pEomjT2Y3A1ceeVWG7N8NTkLuo5AC9d+CknpsFTceC87fj+P8uLdLOExoWUvLbVuKhk2b7SAPTrA3EP0Mz49FL9pKfE4qextTljlQM64p9Ym0XhpLsQ5ZSTg9+9AIQYv/lXMzPkcSFQb8JYqQBDrNv8rd00/wYBJGysTlTXqCXkru7qJFor+/n8Vd5Qdod4fzcehh7avqY+XhxQ3jxHTot94j6aXxEcaLWuDR6VD8BlGkuRL8cOpBwZnkml4yzyXeMY7ZbcwHMdVC19jNTJZPAvtsrrIwm/8gKx7Do1ZdtAaHy5t4J3pZkhUyjmkqvMTozqJf6qL6mM8NF84FfMVW7/bMOs0wXb3jmY6pcJ6NIHwINEESQWmzWRqx0cnR1MMo+UhX+THu3U4FRiFyOgzMsrijj4QB+Y1wUEhuhF1/NA5QUcL6uGpky/khMX8YGTGqFBCLQiGoxI4VRqjVYjvW610fhMNOXUNnwUAms4qZ+UdC0cWyFvQqkQ45hKNEHdSV+B3BElZiIUqIZjpUJdekCo1yQ63nLS8js67VVZ4d8etX2LLm2S/YMaDGj7virltzB4OEzsAgKk6kdCvDDnTcdkqXSMQUERG6sRwW2RwhG1iF3DG31uwNY9wdeKQySgKHauVNWCEcGU1EptuMMMbCJrojFie39pO8GxbZNKbgunFYv8444yk1GrZuOS8tBmZY8tpeGohFNSfQ/gDnO1dcaMzHd7G4Fo9/OW8J+RLxoPDt/l0qrrqFHahBNGDZixKiqd1ir/e7hDT8vdV5eqWPTYu7f7zTRPXe3TKftInDVtelcbmoip3NZ/WRilDWddcGqcGTrAWIusk8buBHXqGdDgmvkoySl+cc2u2P50oB5FLFX2II5MKsiUXzvLWzgzmavviuCtuFKOdYyHiq5NGS+JmlzsQhJBxOG1mKlfCcy7rLnwH50DcdjfFiBAchJ1NnUiI+tT88d1y+QCa4WM9/dFde7ls0AWcuBSOBPZ4RLSwzGWTkho5RvkSchcwsHDfaB4T/KBcFNLn/G/dYYIl9nty4QrypLaygTUzn5vCXtep2A6f1m9o3pb1gB20H6Rfj+qq2zUkRMTkj+YZbyvEDHfPJkrcnSrb+NOaTzMkPV/WJCLusV5neyMxjKYYmPF2nMbcSdoB0o4Kb3tOrFddAgW/lb/JO6Fg/jJ+WuTc6mRC2tJDUtiLmu0LKPV1BM4O0Mss/WythmMOV9EJ6OtEb1gvLu64/IWb+MMbEj+korxnrYIl3vlB0CKckx6V4RLcSUn3eG2dyLwFymsN2mtt8cvjiyMOrvkYlHNeIybfjt0C8onv158xFSPvPfUZe24y+hdLOJ+KkHbc7SlDTk1jwt7VqQh+ihQS/YHxvZyGaACnl0YA7ScN07M/4UjtViu1flAWpp+YPcq7v7Sqp+xlE/c5itVTHIHwZl1fn2Z3KhLqOGXbNMLBndygb9+YBq0+IDtmvgeuT2g93HYoqXbbPeOUVZuKEzD2CBFd7sZpvpkx7kdfjFeB4kL0mVyUV2pTQ912RVHgJ41nU8UEzg4rt/bImhvXLslKmgOQSUU+fkJmA46Kb5hSgpnGbeVCTvFBrr1lchu0lZxbWFdJV7xyywZ/UhgOBpcRpCgIsAD+VNiT4Er+NgD3Z1ZTo4ekzlYRsPmCXVWarRdNvfI37vRGXCTWFoNWGSiRJV8Mq9hbl0VwLtpc+UlBZedsaR52dHh0KDOpC1LhTie1ZvpDhw7O8dykFYl/A9DaEQqKjOCnjgyY9bz/jb/cnL8izj3gvQKpAH0nICyQ5R6IkdPe0bAJYdlI5ICO1kwYeZofx1ACSxoS7FwSuJt3OlzAr1Y0ReLWT43+qM2UZkniGh6XnmJjPLeWPu2YiJocHnqkbFZvsYJba4iuY14ZAmm8KG4yUBHLicW4CqrVRyxoCr9pyiV0iGVswl3sfAkDBMVFnieY24xlXknu4wzYfgFY70gC+y4Qv7Tr+6Ww67N3/jsh6E07hW6s3OmRLcS11Sihi4B2p5gRaOsSJ6T7Jnt7Zyn4kIKmmM69SuPAngZVQ8t7pocEGV+jcF7vCDrLroZrg3S5V5CnYs9QrQa+EYHRG3R2pn2MClWc05Prx08+Fb2et47cSaBbc3++IoVBzywmTMgm3LBSuwQzsoRP/71suW6H2gJU6gXDZVGLdVelp7BWHF0ddkzEMKuc8d2IkDpEf11GEfW1/nLumKQV0wr7hr2idEC/Qp4kV/Tvo1tp+fMrJWBo+fPT7v8l4dMp3+tMbTRe5ID2kzhoFPJnIY5ctqCRyJKZhBOm8hv4YdN0zzp1L+ZWzIjWaEVZDTNJheHyeG/2XhWHRhw9PQ+GCPEd5oEz1WJ4A/VceJiPJ3QObaOxhwaQMr/q8OGwdphyJFM26Slsv5BTD8Ro95gRZ9dclgQKAB255dndZRxD9laeHepT1sS7eI8pYhLl1K+j2gN6ytl81yFbf1vmUicJNGgsgpvEZXbbh6mBfOfx/KaL7zdYFm45XC3n6tZ9TdO/QKnOny46EaEcuOOsXuayO9B//FKPMlcIzxoBD0yeGQM7+8ZeJ4ki1x+fSlh7NOUG8yg3fL7KnV+Y1j56P2M3v45p2ZNfBlRiLCr/3RalKJB/CRkLrnRQiUG6Gp8Vnbb+YJ8f7eYkRMbZIPMtlU561I2fSin55oR95vLGeKlVEAzhm2iI7o6f51a57iQo8Em33WmTQyIYqdZ86Ne22MP6OlI36/CKsNgcGU46hz39QAvzGnQT5kEkC3PKrUNTxgfbJmlZosEWd545TcVK0gfDiNRv77440uzNazqkkU1w/Xz5zQeD7oIJ3klCvT8yiGm5X83zapzHOLFs2AlQo1NSeplYIAruckrKAjz6s5/EqBZYY/HLLPSBpQQFWy/t2C70zlBNmN2YxJnEt3VE175P4x27SlpK6/y42S+HWyBHReo1oznw0uUf0xDQYuYovvidmejL267aY3N4ZI/o6Pm3xqXHBgpO35/IXGryYr6bpy/h+YEFEFM538TwTabpyE4w4GqWaDkQWI0OTdez7IdEyPAgGOdB3cqXaefrsZMnnPEo5p30/mtJwrCoN/tOjn6qr00I21gER28E4CLVEM9mVRAB6WaHyaK1bHLBgURrgyXIWEBZYVej0eEgG10LgVvSfqNHB9w5mrz1zbmzEWlB+HRZ17MBJgePApqaNPNiQIu83AGYxliBNZZK+qHDzEBDtdpNV5wGnHIw6dUG2OleLrOFjH7awvZvdAZenAQ1xvC1sxWnjz4Pes1hkdCG/4VuPURApqiaqZWCAvJy5cIufudqG/KnP34BPQGEepoQmZK3R0C8UoU3jHrrxQNUuI+gw12O31iXNtn0LYpylfhSqen1tGaN+od5qSolqJV8ONARZkPb+lRJNuXeDdyYEc9mzPiuCSy3RV4uMaXOaGcGlRyAs6c5oVANUy1ldyHDEpg+ppDwMHbr7bBDUzJ7PUi3L1BboFofRUfOQ+pdQVvK3E8QGGyWaJb3znvz5CdCaLWO5dYL3c7u1gnPdSdhAoGX2YMxaneOMkBTGJ8gCHymQr5FOg2oha5j4EfeEzPj8cq1a/pWg+mtSuZ99uTha/K3AcQvgeZMvYcaRzbF3BrhQi63vTnbNwUMAm2TrR8W2akRBf+CUn6rGPA9x/1PYgZSKZ6hvWBtUIcVv017oMReUvfPTDq8zOoDT2ZTbAuSEMZrnMUMfLQijxQonovBGXE+PzOm0pw6A8A43OohFGl8CEUbF2mfa4zCdeEU+Hfd7itdYARtrzLNRwDKpIKfeNPSXW+oyqpca9ZkB31Z8fFBCna95JFMsaJAFDUMdLM47EPFrYPyfeAttMHAqQjmEyayn2Qc8AQCUJmqoeLlZJUqFsXgOBcMIDNZQ+SRo1Wb0CfPOYGzIXdtkpjwUBWrJzGJyGHnA3/14KP4GMMotsXYWYWtV57tawBqpHsp4ohVl/dMI6UIbY96tSf5vIB8FnhrzLZ84lPR33QITQSm64epCxKCdTbqYjxpHigGi6DxS3u11O+FcxN0oYdXdDW6OeBdEk/U7rSbFrzOipHdVQi1FXlEy0jxCnxf7KQBdeejTllS60TtsScXKl1emvWCYZ8BSPhdk6NrzrdEBScLibLqRo4IgLYj2LDvwh40FaAsbvqiD72HyQCCacmSgWjLPeRGPeakbRk9s3TlzvOAjJZ6fbNbBTcaybui7zbvEEgNDXDtuBvmlMH3f2Dy8Kq+BukPcnuptvYl9fdzgL3Ei5g8RZkRV/kaTh9c0ZKcJjsQOwsHSOxbXawzT1DIPzXnsIyFOve8qpBjnP9TjS5LriU+JZhOjTpy9m3FHyJQ13w0UnB8Ph72eaGep/GZXuxMyv2mHfI86Jogw99CPfF2WDMBdUw1WCFs/Gi7+Qhn19G3W4Gbh2/7g4MJxiOjF2wjGztps85OeHDgIiG9/vpPthpQBUyVgHiCRSeu2d7uQl5+VVIrrbRjvXakguOdehnMjaw8QEqkm4hmDJ7TJXIlTGtBnKtZxWVv2Sh9oxvi+pPMpAOA20/tF0a+CtDRRfQQzHLxEVkv24jQZFK6Tm1Ift+vNyUi4RPELC8FbTRTmQNTmkBfsvxsrTpCkJUD6M3K01F8ogymYhyTy05fCauBgzbVhZkKhfS7JFQFFeR8M3rwmX1CaMCwg0RMDoaHzPobSm8xbBpb2os4xpE9NfTVqcK8HjOp0FEJzFWrQWpyTHjyFrFp2l+CCqeeH8bEtBQxYcLlVky3ga2NokBy7mf3Wj4JB4B5N7OS0QTiSpbzWZ5TYZX1u7u8qSBaG4KyBbHKmXHSK8sbRD3W3oT9kncyND6PyFZJe5dZOeJXzflaWfT3w4WbcN7Kill9rvzr02oPV+Sj1KINCSeg63krrqNt56ggktKqRUTOVP/8FEo+4yZ5TYGfSsagyfeKvEIjBI7NuNY4vyNzUR4wPRaFlbnf444nwlGRpsMslPqZi+O45foQFK/DykKfSrxlk+i7L6sUvKhVNGpAVFPRQ5J6OvZvzve8kqCoptL4p4j0fjHuzM60I3e1EU036Y4z7Pbs+wHOL7aSJCZaSQtecxC3AagAvxGl/qqYmtvVDW5Rx/76SuHmVUsb/MyQ0+gYd97lhbTfAOXZxX4hkWFys0DFiDFpHVcF0/L3U1KokvSgaEzEwBRBLXPORyYSTS2XvRvKL4T7Fs3Lp645vhHg1dnpLr4toT3jIeXq0YpqR0xFDdc2pc4y0PzC2/XOz3/mccplreH5jMTg0mZoYyTZDRrSiR6ciBLKuEqQKHEvEV3JLkO7QHP4WVOTiYkfMmO3mlhYDZstXwP1U0m3+dIIJZFJTyZAVozFP7Gt1QNJzs91SdVTjKmINn20w9RGIagiSE95FS00A5FY8KBcV1YW2knA8k4AcAArutJ3AkiNKU9H/V288Ati/YyBzfcJRTwSh2IZgk9qj7nWn+jFZXrazqKCqP+smMHB5C1gnDZM53Oo+J+WAoiamWE2EI/j4lhVq9ZiXfipA7folg9qNOBnkpP9V2LR7/5rjMcIHpj69lFdbn4rUT0G8sB3Q79L1au8rGVbyyxT2AKqKgH5qWSUlcp1rilbWyKe+RUonJSYtlRCj5k1dkFjyndCgoxsaVJ9OaDnzdfGh7eLCGruCmSf9gLD3bq9Y5q1ZyJYLanZVDl4yOEC9rc2WHeqaFNec50BjlSVfS3QP6z6sMsdIZayl6lTC6Lrr1iJjN8bhXZBng/lnYco+l4ReZuTJoOSsDLx6vyXxGEQJDtP3hP3xAzNfqXR8tkn9b5/ljy7aMebE2HK0A0BKbG14IZGSUBezlIPkipzbPOqY4qpfQqW8mNu5ZKukCaB74OInFZPMl65NdzKobzF2Jrl+6h7HheaD7lEnSUX2hT7xDIiQB9fWJLqqlEW1ob9eusUvJISbx3VEYdyNL0NcyBinR5PzuccwK9fIgluOJjyoLsHIO4/9970arhRwUmR/+S/WYiTAZzrBbQ36B5UxhWbpzrejS48T/uedzdlXdNODKSKIbNJz/ioBOYr/xkv63uILQncIR/6omVAGhSSZbTDwrVvDEbR1+KxFo1AxlY4ifOkg13dA3piYhgaseWJJV0cLuVEbAcImpEnkxaH7/9cB/+vR1qYWO4GDs/FdRu66MajEfV7rzqLxBuUaizMC/0VTzY37Fr3wWWEREjhc8Y2y7Adlke3219w8O+GvMZrUXx2LBMQ9+Yjy8yEeG1rsDoL4WpdkewG5uYJPvICU8opejkOnRe6jWaYm6pdJzgfIVqOwPnH93QgbqtXAnkrCvh3l6g2OqD0NiUh8EFmcPzlT0Y7qEJ7zgdYvulG7HkqOtnxx4kFrQY+AUerk5c94afcRMC8VesFMUFur2cv5DOvUMKwhRWWGwtdZHqgqVMu0MWtWKE0J8glault9mTOICv94D+7ATwJVdiBGj69/Crca8IpU+gyoqIc+b2XwHK4sGo815lVlbhU+84k2gwhWd1CEcYzy8xufopK9FIpF7lGjbHHnM60/vuo4FCPz7ui3xKcLRIRHkyP9S7X5J0AXSnfMNIXLwAXCE1OwNnK93nJ3HH70439jivjjDhp/RIQ9KWNpEqwgZvWer2z+LNy/O58QmU3y2xEiW3obpCSDKcf6eADuCeO9ArFuFHvAQsxNclreP1/ba9L2dhauv+JCWh2m8g/KM7liFm1D9oAWSclWC7Ya9KrHIOpLM1wXrMc569iXReKgYAYH8fUuxe/NUhp9UoPQAYYtMLjezjaGlv/CUSRHG15sOo4EdxrFW/7Q8IPv1f3Er0U5IO2kYgnwgXBYidXhI6S8cJ9jl7UsoQ3b0gyCvgji0C/3oGMAHh58u4EFvex9m35yFXSLFzpzDoC21Lc1xIAVrfJcWWvkl6wv4zuMJllfQUxLJypMZy8IrJLjpN4Fi69of7QME9/NZFPUWTD1xmevcpVfPOhrGKfYmP/EbehjM7DFnWTSVQB3+e2ERP0YHdMbSz1acJfD/3e+Si7cMwQoolFVYhc/9dp5uv2RLWuXiKARI0u3+22SXTzHYBCRJ/xHm47wsydsZfCeXbcf2LhddnoeSNSi27in7mlbOPtqKqe+jsdJfa+l3xSJIzDCZJhsdzIcgsHTjYpYoCd0cgMmL9ubAsQnwH9oPuM89FQR6XoTckZpgwg/XnCPm1b9c/khZzSBG/qcshWpbJ0NPdz/y5+h8jhvKzH/Q2V6MZEnOIww9QUBvdepry3N+KXrRljAaFrjq9FQVkIpiD3YiJP7cV3TPeQStqVbOzp49VHgQk8s7mTwFEAI01+IWSl5m1mMLEfxD9TnR72DTk/6upd/rRghQ8Z72qEceYK0AyJVYIn27Mr2IbmTp7t4IAWIql/nwsaW5Tlvlse+zYfiZGGLhq7cT+U6qXWuR/6mDXAtXzT8tPQAbz5p83mBtVpVm2aceym+mbl3Whxh/SAeHeLxSi+0zlQA2ri7+UtFrTWsWEg3NuUYVbE2hiC0A+xJSQrcHtE4qJ04wy8D9Y4QohwmvepBQwJzy2swZelXL3dhvn+ZnvAaQln+KCtK1bEr8wCBloF4uZSBNeC78gXlBWUL7LYJBjhnWs2lyo88M5s5crGC8eYyBDAEh5ItUFuvvTGWWUvYA6c3AJRtyapAGMB76sggxZmAfqaVG6paQ49obANSmVJrxN18621t+i2CC0woz7VOvf8e/bpiI38TJQ6NFlcPfX0Kihw8A4Vw4KTI7thtH3iTiNMEI7PxH1DREZPIjFTW5I22ClsRviV8NlTP7BvTp3wMlqOoxIHDn/b6cZUnR215la70SzmJlBpPm+G0npuc4QMPgvQMytIOUffaCmR517NkI/F5+PLyCOLYkkfdCHKI42nQ9IVbd9sHd9HRK/MRe/MgmwD1IUOd8Grc6nEKs3XBzUSJO0eQw7Cr1PRGjTxoYv49liqAg+zMlY711pWi6/qroWjx5s2E0/8hkql6GWMum4iWFBbJwQDQfxvxuUvUn5CkB5jPW9Q85EapAsR7dL/dRFHuEaZA7kjph/xd7uXHfAo3IH8UwDsGySXmhjNC2WRSDklI9OlWmXlI7LJOekqg+mAuoUqC6jJzZD9cnWZgY/g+0KmW2TSls6grHNyOQ9C275vM6yWHOgn0i3gXMVbjIxnIB0pysABAj2qTGubhZO7nDo7UO+Ut9sm29K28HBGIJjWi8wnOpR/uAMLJWXtR4FhS4+YJ5lQ3lKaY1rGXU0pBy5Aq8n0Z9yytIrIOnDhhwtemuhFwt9Jnp5GjI3zNicKAHxDNVsr7x8ulrMO+/SZFSCP3jHcj71XKo5yb0y6wT+kAF/CrxgMHKV0bFY7NGom+Xdun0RnkQdKaMohim+dGwJQpEmvp6QwwqujpjWgkYKk4uZWkUy3WGyeh0BbKzvT0hkqe7tn3ZxslbtRK7VnWVZn7lCi8w7eysLnFio8NacpV9a9n8Uwg19UXHbVdgFygvkre4bvIe/pLXeNkP8KoAAqRUOMCzptDdnJ9hLEPiuSRwnpYHZSuhvoKFgTtV94y71XxO0HO8B4JMfDEAPdW4gvIKYUVeNZkvFUL9R6Z4xGoxfv9GbC/LsQ/ia0hopcZ4CqfHYMlqDihMC/yVz+DDEHqsWxvhGku9TY8jP0fqJtKbBM9Pu4YCVbqDL8BeLPx51Hqu/YsqJt22xtc6zmWe1dy+tnlcn6dEmXxA+2sbGGjP+ikGcgOoU+5c/poXdrUKQiJEMNM9KKfq7JIogsRnVDkOpOVxOUXg5hAOtp9ePDh0v5ty5bj4Khj7cgZV3Vx+id0g/w90C02Aujv1TIcsWbYoNFxvZmkXD5wEboPZ41OJG6vmHAaf+Xh02R1Gi8OhtY9mtxGcHeBgjlXJD09OQDklqEj2eTiIO6dO5mZAcFydGx03rkgwVyRNTMTp4CijUGZutjaBYZ59bwbWTRXIi2ap8Suo+Df0F1D5ubtkOer5pnP/ROi4VqXhMZ+XsDKyUR0nw4W6hS9YYtiEHUreBa0F73QPjvWaTwU5agoP+yXX0PPqhFsaBY22KT5/epWVyU50hH0BxF+ZhD/kzoAFxpvreFYRz5dSrejxlF+2o/oQqJGLQHlJ0VQmopY/VE7JBu0iwIeHcsYByY1bkTOH4Z69rntOVSYARKAMTPCJQ8BeJjb27nguwb2yI5G81WxSD4vBpKtnqT6vztYEF/0kAeugXtd5fLQaRiKwCL74yTALUNKVQgb5b/92CqextLtvHFMdfSIS0LMiPs4jT4lCR87xmmbMNPLemYbyMvEtwS6HDdMYD4ijXJZG3HOEuilDy2RmYAk/Nsu7uguXo2zqxEB/AGxX4O55tWHYPMdxo372zfD9P/0vLCqXrTr+DWNkzc8ITHRoTjJQp1YnNrLSQ9UKDXCbNjOBqp3uBQOXv5hnYiplfSh3JIbyWnFybCIfmePaGRW7s1BafJ62IerN/VO7YiEm5ByjX8ZPMghijAtBjcv2XGdBrwbIcvXM/KrJzRPz0dOZ03iPI178mlq8JvA4hPnmfV5CJXhCFa5+YHhSz+o0Q+ItQUwADCjNcgjlufImGzAN54Vxezchicx/yUkSfhce/Tj70l6ufSxjwsUve/mSP3FiVaigJpj7AkPHjoum6bD6PSWijHOMRr5syp7vjEw3RGVNgr3tsAEQZ+bxMa3b3+iOmGZ56iTZnbzQjQOUJZvdlcXeeO9P0iYYGQkEU9q3/1oeewvSEvK+n4W2dp/s21IR6RE7PNooa+JKxXTK5RtkbhTbR1Pzdgv34NcinRt1opt/hebk0h1PpDT5acClOSJVg/b/WGqqa5ubbFKhXWARgE1XhRvpNCf8985fUWoXNAKWUON3Kjaeg+njnwXjW1h3KrtVATvf35ctDBOSb8V98ufwsOQKhK0owZ2aFgREDpiFGFRFUbwGZ8ie67K8gYafPqu18QbRCMnOgCamVIDoUYYoB2+UV02j7G9oaimzbDTu+bI3HW/nGvB6KLM1WJnUZsQwb7FKtOX5wfS0R8lNRaOy+KHTrYhy4sxO8nXtq0Ey6nLrTQPJpTqn2nLTaSKnSXZkBDM18Ulj7vE86MRflI+0cPel6Yw/EUFNfBd/ceizD/MpRb8hxLKLaZueexhZKDWUICW/P0f/DbaH6Fk2Pp/MRtpMu3IzAO3nlrnFd2yGJmHgsDYcTg6Ht3LuZQxHdDM6f/obJbsV/RXyFo3fEm2aKfrQzsAl7xO0qdh2t5bgLGjxch3K7fU6XaZc0xdJz4ZNuw/5ng65QRQ7QVfv83tFDKFucVVbSwyInxX2/VASTGrHg0VLDPRKvhSeG8UBMJE0wbSliFqkIpCS669nuVMdfSMBXZn+CC0W+/t3PlmjqlEauFVHglThRrAKIvSzm8Iy0+QDiYwvagvt7bLIHfDipFGuUULr5g8OqtEZgEwZjTsh97Gf8a+4gvL7P4RRjceTTMj2ELbKdUiFkY+js5pP5Y7QvUadr+NjX8W+bZtecs5kNvuolHo2GppGTYMfKWv0bHYPYKV/SuvFRm59iBqyeSAwERY4UPvw6JzmDL0j6hvI7T1JwoXIhIpDBGrWuT0g/QJFWJfRyE7IwQJY0Kof+coFEILFL1u6YW8hczN817fPxhboW2ZByXQqvAKMhqRHpwwcFofseVI4fKJEGqxL7WBrQbH+Z27FW3v+nQGom2uL9zp/3c0WvUue073u7WO89j44XmrUL+rsXUpNn4Zaw+VQfo1OcMMEXICuHE9uRxdMzLrNjN3baIx8tI61pc4JZB099GL2LhBNcEVIl5ErlihPDa5WQhDLE2zxmIyUjKyzrus8fSBSMmo+ZiKN5JVk7kR9mMIIZ/1VBFDmqDsgKzqRog+Eygf3YP79hqe45V8HNqo/HTKoYfRt78E/CgzM4Qpchb5vBOuIJRAWBuUFoIr9XZe2B4F6U84lr3e+wK13FjUHJ22wxDKWwkdh17yR3HVEuyX5L6OypFP7XMdxBYJGC4VJ6Hlojief/sAgX+wft+oByRHeWKABlCThV/8w5qFE2SQCb8c5KVdvfK64t4drVJV8YbQTNes8i4B3UbdU/ARE1Id9oAMueZ5Q5u7dl7kh4yGRsPGFn0gkiYmnEnYneG7JrC6pIbEGvF7sk0tSsiIBCroRezAw1llFyC2vQh2/eOkY5bAXQnKF4qNjw3xdVCZYWEIaaOlddP8oDa663bQ0CveEW0XAaM0dGTir8Kjce+lxpUgcj0FEjS+WBGflmk6S9puMMgvrD7shrfFSEOgelkl/QEdEMibrDzc+ja69TAtIMIHPid3XwMLodzxL9W9Tw9vWH/ts9y4ERk9Yzbyx9c13EGx5gq/V8wm7lOHxCRfSfJRQAtRhdziaEDrpkaFmPjim0finbr5erpj4sFkS/i83DILCQKM5tsPrCT1KnFs9ZtEKInx+3L2CLcry3m/88+sgSrOV268Q9CH5Vmo7+tQHOl79sQqeDTdyS5pwl7qtsblWECaA8jSqG0PLBEtoyW1F0ze7g4s9cai777syBG8jaYt6qjFsegZTsLydK7J32+XLoSbVusPaMYco41RIUnfvbhsaCBqNPy/TY98QhLOV2b1j1uI9jKNbPngwpGZ9PmpBNR1Qtc5DeidaIF448iNv4PduU7oSJotqkcBE6Iamq4VODMx5Ud+lBz6KK5gk4uJPgtUxOm8s3qKrErAyffrehPmN1yZm1kFvmikc9S8gycltiaOHh1Tqc6ZhBlRBy7cGqJnVO6nYuaQjvWZfHDgONRi0tYpC7bzBkPZVhlz8xjLQGalzU5UAevAFSjBoGvHoIfc4+d06T4wXgXWrz4+4wAsudiQ7bPuLNOfimK/sQD+4zIdve4ClMJMJg3N4IIvI6Pw7pzFFR+Wlx7fMywRtNK0Djk6gVCEV2claA+kwbyR6CMcHmaQwYAyMmxKnIkzBd4uVOSuDkUsHA8zJPC6hXt3Y4pgsXxgNV6D1fSH0wa5rMu8M+fAuvG9P5jrTHvAQqIR4NNoL1FIlsQoXtoViRevCpBPud7RL+PoOfl6vdwWwZY2KyIt1PWh10KyRcDN3ZKYlDCRVo7gy8pe0EnuvDLQdHzapEbOe9l0zkMSDxJpUXLXX70t5wsHP8GjRrBth7LpbkS/8mYGNLvQzENcFg7FOa2z2UZ+44z+QIQ+yUiIGoDp7ZPTdDxJlyUuuUsLfXBgMpn3CR44lrQ6bq4s95fCf3Aq0KzLrZjHjSD5m5XQx9am0riUA8ga/JxJhSHC8WXhVGsyYr+n6Gv9fSzz1A8sem9bOixlfOybf6vl6GdrBLXLvNB7hRgdjTKFaE69jHefkatJ4GFpNG0Hyk0IqKwslgcdQe6RrA0wHmah9xnydUhE/8XxKgvnrR52tzFGHje7gweOjfMEV3sNYGJJNQ2RPE07BFvwmJVrFdEWI7sPmlt+dkMxFWohy2LeOnbT8vJ7J5pQSQdwOG7nRXa9Fbz8BNDIquvE7YY0bm7M80UDdhHlpI0SX64l7mMn8X0FlgbNHrjFdbARPHKhSHbt6VhJll4tZzhRe7q7HhxwfoENMpRFgy4LE2E/3EePsZwqe2EevA8keEpccbQO67QHR4BAz6UjOPCFZLun+WqRw21A8sarVKSlRe6Oc33A0JDAbQh0ioSd3w2y3FkOXFFZJZ/bhH/ivEab/4jbzjU+apcjGdgvUQnSJ6tND0tRT4poTZQsCORVmnSSa3zEkYnmJSygykRGfmSqUt5h/X8xZqGr6XYRYcXiREg6zX128x1V6yM0xgdf+Y74Bx4r4kQhLLQqyOHSYVZuX7wW6iNtluRYVRZ8FHsyYj6hXTwPf0hBMuuqhGX1+PXkV5qMyhdrN4Xxezvtyi69y1vvEKAsxUDVfUB+YJ0IRsm+11O0pCQg7UYhVjUcxoifKmcYwECjfie+i3vHRVF8Tx/rOEZF8jFNyzVs3lL85I3nnap2Ly6APlVwSHiSsGZxijA7bgP3K4aSn4VY5BBNrYpYQqVwIebhOyjozFtZDP67CzqmwBzAoltXqcQnTuhcFDeQJ0kgVbu2xPW7hNVqWBJKQwDjWUwJs5MQugA7ELwTQxTnnvSSur3LQuxlVAfTel47bpQaUawHyKQrmKkShyX43EELxjJrmNKuD4uruX3e3hhrFbUeeyHZhXl5+6KdK17UArN/GDt2TPjpRpXxGfUzyGuETGUNbOWgb3G/71qqezgOiehQk6EhilSFQ6qB9cGpOxXO+s02jlo1t3eLR50ArwqH11gfSb8+u4RLjmeBZx9P1sBDgpTioyXtNGgMYV+z60l6stuh80nNFyh+mH1WS20GTn89ZOIKnPGCR7Qcv6/dVYqXRS5eV3MTMvrRlngfogASlWE/NSB8pnicSV4MW99bANEy/+PXzCOwYF4pl/7TERBDIiYlkTt4xsdbAGUL4kNf2n1oxfiRcY7w7h9TRH51A5h/lpW2o8WCJzfzb3+h+XxLQgFMuP7tWD3k2yp4oezthCq4+UNJ1RTV0QBAOJ2a0vN3M3pVUDBq75cBYLNuE0wsvOnacDu1fQ/+WPpEwlvM74q7riHElFEeiS3Ld7GJcIjujeSj9T8Rsc7HhXWw3S4ECR8PErYhB/+1r418qwgYGJFD0LOZTtmKABSU4ZxVY7u8k2Z/zczY1HIUVDBXSaPdVnOGfg0tbROhTAYq/UzpWqBOd1Ybc+hiMdB/R3CDBX1QOqdp0eKJWUL3rMZ9GWV0lh1KHsTEUhrur0fPLUMgQ16LkypAet8oHMDp+fg6Lyfld/lTDd3Ow5szpIrtLqfQcZ6qXhl9+1ncMLxTwH+3PdWAXOskg0I1IquCvBqIGWhcYuT4tlZDNJGRCCAPVK5YUrRq/EZUaKcqkGFkTKyDvcF7+yE/fycWzkekMfjcOz2g+DE3LC8bLDUhmTTqBVlmlhIR2NMXSeHV9CAId4uU8pbEP0ideHqq9wtEm2MgZ+PDsinVQ9gme2eNcH8gQIxTvhJrUZKWtlFMWM22GhOqQ0ZBfNQyRhRBMgrdD9OVGtFMu+gdJ+Bc3B8+MIsqs2STDL1GzS7/wp/KVsJ/5pm49JMKyczrkI0qVOSlGRYFEHR3xLqdmlvYQSdjOkIZpwDOr1dhiScErPhFMARRsLTo6v3BAvi5WHy2Mk2RAia8tC2Cd9ySOhA0/RoaK7wgVHoge6bqb0H5tcILaBE99ldAbExicpoiapdioNcqS8NbSMRA/Bd99F73wM2Jv1lakZDl5EzduChHMlQsreD0Zy5dOvGGKhnoBd18kkZgO1pBnjsldOf6VW+eaA1T8bippXM0hxWMNzpL63hWuPDNVFXvkM/XbZ0i0JQApY/EHz4yydimJYtghuVLedw6jPQ3uDV6ckxVgjYwgDJ9+3HiGDFOI8aQ4hhdCjxFQd9NQlbJKCt2nGTdcJ6vH710iHgFkkcC3tqCvDWEihZiQQ7IHXVrzpU3QWX6XjoXWndUgluZoGWGJ5AtF8PH7kKHk49Kyij0kHLgmZkSFuUtrksXjXUjSUDwRHTOyqSF+pdZZlW2nxBgsLQsuyhrCWzy2yCH3GaeYFZBk39/K0kmaJ//XMzePApLh2OWLN/dfJatklhBjgnA+YXI9JWLs3uZh+52A8iHA6I3b0inAttD75ekqS1SXlxTI95pEPZj+lx9tb2r/OKo2XBgIpT5tyM+yRvfLzmkN9YWFSlz1cHo4RlVWRARp6nQPH3CcVTP5J7ADUrLJlpbKTXGUIkQjtiHoPf/BFDhu9Aoj8PkXfZdNKP3IYOn2m7IiM/HrNIAws6FI7tbYHIHb2xFDcEj336PtQ3HtUlslKvsPUVvQ94WhCpc/m39jsMvCI3vIeudWb2cmrDcVY/PQu8pDaa09EtaggwxDSUsNp0zZX96Uk4ZivOfD/ePFXkDU+PMHLoG0mw/ZVB2/2nKEHGISs1wDAwHbREmUYNMM7NHAjbPsQsdwBMeJDDsD7Y1c5ZHvV/x7XQrWlAl6PZmDDpboWA0eJKZzS8ozYhn8kRPFg//7wtItyo8bTZkZiAfXtiDzuyG9tyKt7H2Lx9bbHVoG93dVO/9nKPdjiEj5f7FiawxEW/vl2DP5h6yUoZnGNJucZwCVaRy3rkF1V2IuyUp81x5Q/Wgu3yLIewYErac4N0IttfDesf2FkFNSDfmL32UYlhqLTwntsvCG/SqnO6aOMAVVzrQthqnIH5dxDmz89R/MeRAziNrKrhwNttMidTAMaOqWtDsm24MgG20ysPz5RkxWrGFiXbAXizYzD65kegF1QpEUpDDMc3ozg0PPNgcQ/B+VPpjAARpErSNHFtZUC+bcDeC2xzEpcO66ia6GZErM6+BM8VttKqUZajPWPaf7g9B8X9N7v9vz+R1reyh38/+YKFXmpMgw12Uv5t8eWu4lqDwX7NgT6lVLPc+TxA2XLfhCXF6p364BWH8Soq4ENJG5CrtHBm7ZUvTddSP6UKCh9ir/yFLnJ7ZRH+mJrzSlq1oIG5A7bLCxH3PO3SgicjBWw7waDMg6BWJvDfC595svqA4c7acNQyXtrWqE/nFcwZ64IIDwwHMLVCk4FMn6frTKpLtcpVGiJYxY8VX95B/SQmf/AKLYM367zaHx3bGfGYy/H2djNzFGXbJak08i+IcdcR2BpFMXoNx9qh4fwhp4pqSOjgQ5NF+hsq/hvjAD/sovC4tvMx600qeGxp6OLNwodv0l7fglY5UAwKGhdRZkgyvolkTOtGGttSq85gdub1XgSPJm+1bQNiuJUv66VEsavYPPMx7BUIcK58bIyrCrvu7dzhtZCx3Cx6UpCabTRK0faU90qHXO2X6m8IqFke4qYu7vBUSJC6qvkshsyJgzFQWUIFNV7D+0sBATs+/7mr5uGmpP2EQOGWKUe3TQs5S9yZ6xefNPyJhgWe6NZJHgOEzIVJ0x0zp3sRFxszjp3wYMPHpzi9rbWBN/M3KGUsAy4lawW4RHKSPqARmuQqnpGmWI10jQFFKGJIgj92+mNGYzD6v5cNaWaf0G4GbdddZuBpumk6V1yDyv7uONI8YUYYjFQC2npYCVYO7tOhYjGn+GvOIK/HOCGZrN4T6APaDhMGTosMfbGRorp+4YqnB9RS7m/ey+FzSXhAqhp2d26B+bghbHAZw4iuffky3QUgf7r7OWQsOWLV0sUAxL77osKpxl+yQqDbh0DIcq/GNHRv8Us6LVG3JMFND9vZ7wjR+94orgf5wP970GZ0uF/NEpUW04EZ/Y8q6TYUE6NaL9/GA0WQV7ipk7C4uWV9vnX85+Ex02Js/W7VbmyzRCZ+bEpfQkiCKBCHh1l/7es1XhE6UuRf8rQWuoaKah9lZQg3gKlmcH7X6VCeo7SKdcxrP29zshKfgHrgZeTYVOZ+RhYQ4PWfTljeDPxxB89LqHGWfEDCiIxROF9S1Was1+/qp7R3AiBqoHLQ4l6o02kuTal3OeU2NxjKeOWdhzQUFhBg73OULHiSm6WcCoCawfoqxgrKyka74iAl26jHyJCmd7S++uTSVQ9FoObzplnvk3VwlVF8hhVFslkU92MHZD5mjRQvwb1YPhImDZ9QYAZvPQ2xqHb9RO7O6VV9Glfls0OP8tB48RMe0o92ZpxBHbq/hwPdpIRQJ8Yvw7mzGHU5krPTJl/wcWPjXm0hj7+yThViP2HMIEpikLhNb4HeETmjIc+V6zHCsnW7N1yXMUSjsdpfUyDg06//Q81f6rgDoLkq8fUzOOd8cC7w4MFL9OwNbKcltEdlCotSdHxXygQQW8IKu4eKj6iUp9XJDfQHBhOsttZxzaX3Oo1pB3gEto7Asv+Fy7IidG3qdjPbOjuvjUnwVVNFDMaffZ7VAMEmi2eCglxu9snQ0kjUz7S4HPLCnJA2/W5fEIkUntaG9FFc7f0V5hlQQ4yJjJUGOY6Haa01BF0hsSq+BwDX7N94+G659cUG/BZFztgyHY6biV7yiQieGQyNARjU3xmtQ9DvUxkW7o9R+SZtmsh4iPMzSqeu0V/hwwoGLpVekkMPNHugnGBv40Z+ohZVvsxoWc04tOpQwzbHtFlLUOyK3Jj7kdEGKd218jccJHZ8K1SVBZZv994dZR3ghaJZpGY47rs8G4kY7fuBdQ6g4lmGa30LqTvs0tpATSFnXjcjcD3gbNWWkvO9NwhMC8GQxAtLToihyil1zCMuYiGcQSqNZsQR7IcXQ+BsiXywqcA9D+4S2X+pV0vF7s9uP8YcjUbjUit+3r1fD1Zg2yVSb7hahBSYSa7Gw/EQ40yH4WjZQIdkDAAWVle/MBMep3RKsVe7eFVvxsR3KLhUubA6tYYPOHtYpfUziO7xBXhqx5t7VUN9ecJ4SArc3NMiK8ktkR1OBTf5hVB9kso3stv3d/sSSrUdIqUJMwyNARitVyM0ZRh+E2HZpskstus2l2dPrX6YAVq3IX7Ckr0LyaIPOHUkk3bZXmEdLHBMvCW3HE2toJgfA/oHP1MUc3nndtqBCHrvm2hTKAlSrjK+ZJK1RRsbKuK1DvIpxWdSxB1oadU3CcBMQsHH08vHP3ze+pW3EOgOFKm1V/5ykHibpwj304BzIcHHpcTbqlHQHZDCcFduiZmD1jOIfIjedk1DDidm+CFv7tqK7IJofvwN0O4cg5NoVnqJfTmsvIaXfXEiPH5oyT2AXqihYa68AUSyiQnQGQEFCBj19kvH59QPdGRVvwAJqmQNtWP+DkAHi6sCDkWhUdnVYK8BNQzAgZlsFQ9xyYBa8CaiysLQpmeb5KfJE5lZPxl4RKZAxNrDvpuV2btmqIYDa2E2r07kjL4H3aPWjfHWOgpkJd5AlrtPZPUYpsiW49z3tqVxxRYWie1L6lJO2r1AeJ+xxBA5lRJ4QBOZrNY4Lu0MH1QGpzQNYPP61zyrHOZeqE3jkGkr6bDXMr+LjwHe1TFc9AP/8/eGedL1H+LeoEu+rtGS1UPRehy0m1Dgt023ao7jvjnPLpjEujW599HY5MT39BXCK1aXmxB7lcv6v/cfgdQuEEoppZbgGIU1xcr75lkXa65iSJOw8vsM7JLZsamgzoxaKcUs3ehdVcgNZCq5cdcqAk3r0KjgumGv9Cu7maQRjmL717gRA90j6qajrhNu9SZY1VKWJuErrgcw6kVP+9a+TsLLZxEy74AYPPpxbWXI8BqkAqqySNMijHSZwm0ftUDMxnDrXM1/EoNG3j/g0zlV2dw/LO3grmXF5ERcue7OZvC9KZPGKMePm36IbN5KPMdb/3ABRv6DWjx6zDptoNm2xrEuQa6GkuVCMExQlq6lKZvFI018cLkin7KZfT0TwlLpkAkqRzdxaLnPMYZN90x3KQvhdSaYhSp6gzgbWl7kRDVPoIVJUsEeGYvOqKeCVqngfxWXqCmGS1OBogisQaaDybHcREA23sYPGKrcIZEe5DCATCqJJk8lfUUql+nKK1/O6pDsNNqAj7+v10AYbvs3Q3XYhyoswWs8odmFZGgC6Ia0oxJn2hds3eppQ8bK3FCrMb661pO/fPFLG0gqfdTJoYUdkIZ4HQJ6kA6WFZjGzE7JbCivEeazQWUXdBROfj9AoJ7GPPUGOhsPhxfku7KnXDGWkSG1EzmF8HdcC06TkvSfgU5PlmNoihjfcTOtpUva3Y81mNOuxjKg4OAfomRTuGXdojV4SEsbaSrpjrIRXN7l+O+eEujCgeDtCdPDNwreI6QrFZVWeDyBsj6tSDWCTxCJAcn9xWFP667Zhtc0wDU1anS6gZH66TbtW8/mfAFfY5gBVWHfZBjLVen9Xm8MTDEIgFf8dA+tR3+LaRtRBw/yUElrRp0XweuTMDDJb4gX/jmfWDfaIGyMpBVSSNg2k44GBGetNB0TVr1UYvPrzHAcuLHZflfAOLRhrABmfO03kwSdtjt94sEEGcdM+AX2HVI4Y4LW4abR+xIxWMJzHQGmfjS/+rGEv6uEv4dLKcFbv0cYrKPH8zuv8XKm6G/o5iIw3gtChUMTHgxSZcLQ7QlgmBSPmc0fpkvozbgRFmZltkmT08HfCuMLzSiAmhm3bHheRx5jyrOmS0h9OVL7zM1oaNRjezqRmP7rtfeKdr8OywRk7TxtqhTHAmh7s3Nu9oTXCIwBGxeLDyGvpHbIdU9NWmYqsQreUqIEc9NHOON4J8h4hXwv1GWrEX2Of1uosiF1xf+3INIJuGDY3GdP63DRBEvVOjrmbcjeLlU5BX7/3rYfZOo6KB5QfuyHyP1zAEnpEe29Ywt7NWptZdIfkSuvQz67i0i0q0qo6Dw5XOuyLC6wC3q01pSNAt1c9DFYc6evZxAG9klzY1EOuRhUVMysBbSQFws/oJU4FyfOQixbLFWPSrF9LaHBaSJ3Z2p2uwhA4oE3rZ2HcKbxB2DQ3DPoYy63QKLItb2/kTM33In5B/unrF1ONP4JQMeq/JHHgF7xQPsdpHFDLe6lFqjaIBuyu2dpS5PulRsii4nHYCtfxfakQVtD9055iMvBGmB9OSAxdMD24syB/ufnunjKkEKAQwW0kM6Aq7l1VERc8fDOc+On9v1Y2j/kf+0Xjq4s99C3QjuM2UlqTfyKwBzJwU/aEB+6BlY3y99gmqlyylBc/Z1L/Vva0YJRsrZJpY1zFovcEaOQE2oN8khvtTm6vdqEw006SxBTOpikmdTI69hNImVVtBVWyY94f8pdTMB7+9n5XGKck+NNDVJTA78xvFM2sXuJjVzL3goihUxcwM/EskvjagfWusECakz+L+hx5+GRUACX6rx2T+AAlZu9aOvAqjC229qhp3LxJBoNY2qFIiDfjWaCne1/Woi/pHAnxd4t8zeTMehpU+CzW6oiadjoWLivyHlvTT+OFfec2mwOT6AvI/mrbCqLugWWVPvOgYB9yJlLbScCqGI+lp1vnyOlBfV0kcYXhQU8lOLaXo5X0ACcXeN1V3/uJ+5xV7DBfECiJZUNYG6WLeehbKC7wfL4oYrVljlzvbQitYLc7PEAjGw3Pzxqw0wW4e84XCwhn+8VEbbTMdxRQ3DCZJzlPjTduDVsXHvF1rYPGfIwBX8vkLPVYvuN3Ukk24aDoWyMZIlepIe9myKy4kNOu3V7qlUsRK3w1t8zncKwpZ+aFUqSvFoKsN0MtKAu0LWzDbwsjMkqF2HUmfCstBkTrxAfbk1p2qRTxaxC0NSN6ZCReFnWS89Dz6Xq0rTbxA2Pm32DlY/+jN+Y1SFt4NWUYxGy3rzqeBy3yDkJDr2FVtPCJaRzCZ76bH0K4CnnnlEf4QeB4Qr4Zs1QRn6dOnlEsjEqYYkcfoRLh0xUkR2PBtjhH1vzPd3y3HBOgd8gFcuEw+Yc9xCaa5u8gqZwMoFQXpMBm6OhnNsHQbwAXadN00XB5hsFL2b5XBS9OSrVtF5C5ha+P/71IaQfJZ9oUnMdvUmIHCvWCPAWE6z+t/ub+3K/CDligpxL7oQFxmXTT9eTO8YepG5h2lx+8LOE7thH8+wOCy/F56/lMlshBJHHPMY+DqYHRHq5hqWRNyJF2DCGVtF80ws+1/MrUpNgrFSSv6BfGxBkFc5FOqNnzmsxjIibAUQiaVm8G5RLijaKC0pcYnraM2vXlGLf22vEup+/+J/MfgU/flPbBgFX3PyR/TBNISClsjDuip3Ag7v8XgtHTgjb4UKuMYsicTL2qibpZcLELu3BSjCUmZ7+BrOjKKdXCYAGwljOdPp4gHOV3nUxnmJUauRTXHYILdfmWmbtryw0GkEu7Md9ivAl49Gcls9W9D3XW8Gx28uqTm6byAC+Ww+uEhSs+uK6aBuuPr9W2Q+wGEGwrWtOUP2rGGr+KaXhl1fyxLXwPI2A/pYUJv16e5TMIwaRfbJpOSu32tO6aDdwKIc05Onhv+Ot+2anzxfgYINOT69TLoeOUllAdi2392N30GZn3/G+73GPkSdIsWMgFQjLV1DRzCeTU2KEn6MQoq34F3iCDTe5FvBsWhLvbeweHuhRc+8lDavlkSUX2W+3TfckyiBxIKICFIANWQrN6DwPFQVZuNPDrfPT9da/EG2QNraWB2u4h62kwN2bKSBesXZjWNl0cEPsDWeaCGEK+lntMGo0pCn6BXOh/q4kzzmpByDPbJuv8Z3/VOlfgNzBi+Uq3xrSstAZIijHpvhAE257zv3bQoEQgV3fu+HFeDtOcOK+KJDbTp7E7bQdv2sDejpa09QBG+lrgalvJge1dIz0SCBuUrhpfgCkYT8+r5D7WmZOiVd3Fsy3SrTH2SKnKwCmA/UI/wzEi/eQtjtu2fAVlH4/oK/GirJVGMSziZLvKPZwQH1OJV6Rfuz17UVtbN6W1iaFvdLZPk53RmyhrCgwDkwLj4jqHX2lxog5KnDEueiew6F6MS251n5epvjBlHXN5FameZFUN+RhOdmTPqKY9Q/F3yNJmGaZ0b9B9O4t13Mc7YTgd1mpFiTBD3D4coHzrJkCQYG2B3ajY0MufNhuLnI7G+zwg+DhfUhNm1lS+0xmSejVZ0Nk3rE5Mx253kxVdIoL0Mz/ETAfGziPLvwyVveXg5/+bY+cQrmse73M82M8tsswdCpRDbA3m0lbAdWA9rTt8jc+uOGf6Nn+vMUOBucW2fiyk7cG7FOOpbMTFK8ElhJo7mr0IEeD319KL98uRZe2QnET8anjNY8vCinCeq6HsZStt+phMg3EbCSVVXo/EqugJZavJdlQs+39aawWKqfSWhthgpuzTXYGY8iim4x8kSOb8EYSgucVnkf5M/PxhF7hcEe+UBm+/NFj0FacrMUmUiSNIweo131doBgrrKuP1X4ATZdV+KtukIHwdO4rUgmcUdesfzsvNohCqwz2v1PuYI4kwtqRLtNd6g5vqV9B7qkaCshnMwSdXPumfZlq4voVT8wyS5CUK4shwlaqtydjDTnyBhfcSFKNgPy35UNqfsAXc0KQLIYoCbIEBHwzwpOIGLygpZpEoYTSIrtaGkaxQIFE03OVl168dTnzzHhe9Lqv/ekLVSXm/tFWIj8mL12hZszYDbn7HmyzUK0SJO5M+STAGnAkhhmzy/aPdHwCcAoM3UWUD27bi3QAhVl671UO1ITEVOcY0rcvYoxi5QgyqRwnAL6xJUpQwmIvhrOzt2qCeA92VlntfPudYcJPsUMu/FK/IYQ4RNsTiRdSaRMOKD88t7ZWlx8C5gUCmZ7ZCJanEwOtncRMd9UNKuGAi5LY5+2wl0fy6GRPEy7x1iyatYiG2ivVjPVe7z2uRvBM99RK27BwJBusjrXWfZVWBMB/q9WmvvTCeuOUmdcXuwZJugaVCpzHOg8qCCphM4dCu4mbzQchvuNdVLZhzPnzJY2yvpElRwuuBQKFohRrjP3CZLSsIzyXGxLXPiYDY3z4g+GlsIMTUkypzv2BWf2iZ5Kw90o45z1SVvtZDiOA75BfYJzbo87nZTB1wHJkwBgBZvTZHQr5MeyrfLaq54ChWC2/Tz6aZGgAF8ZX+QDVP2SNP2UYSricLlx7Ky4DWTo/gms6xujQvacTRYKwF0mZOiKBsBKBP94SvxE85USbaXpPCKY9qQSgQxHazznJjnzYMpAIQn4Fg4Ui4ZTXjPt9ENS16SkTU7IqPAF6CQgmPPGCJ41pk092bMtFu3lVCt5GV5gUm0nW5dokhiMno7Q9lrTc7/pEH36TRMHYx3xNkp35BKqJCC88i6nVTt06TL5S7H3QxeC5XDpgqsv0Thve+n8aQikDbjpvww5b+32dYpuRsSPiEEmcxhHt5e/GxSW/RCAdVhshGx11DF7sc07Jp2L0zZrGZdxUrcUOd48cuFUD8UFgARZFswPKzTJ8Q7o9/PYbkTc2ThHKOoAOyxuXyrqJfNqfo/3Mb5UznD67tBPK35HROuZ/ML7q8Z22vWukfssNiRcmhs0CAysf+0t7MlfwgfSbaZz2cbkQMVRuZoKz5xS1sGsx+M2jB46/23vuUkczEhkwkb1/OnZABtSCkNDAVNiAneTwDRlzfrY5WauNck9kvOgAXVwGWwgkzz9W2T/0EePx55o8sBLSUYC2k5/TxGBnx6bHMzEmhF5DlykgCfZ6p60STVMzMucstMkZE2/HzAGeQIIAs6b1kAJJyeXze9/mUxCU4KZ0/dK83b186XPQg+yZLXf2iJqqfzh4qKetPV1z57rI1jA2ND/PV/kfa588/wXru/8IflmZV4gDy2uvhdAAa+MziWASbIhOB2yOEa/TrYjXoSdbSgn6MBJ60orcW1Yp8wXfaB63c4+2y6wfRQO3ubQvtId9kb+FU505D+jlEizpYytjVVwfBzs4bxW1NtIZzFStob4/4/k5eeaoko6GOig9xl1x+Cjhl2cnDPCY640pmMznjpPamCRGCOTy32DmdmqPifAu2qDwpHiAW3jE2ff3oR+Sf/9dqTKfo3tTw4mEk2lAv2hCLPKIrZOrYRO0NOElgyICEbp3Ru3/gtTgAEK9hrJDsnzbqFj/KoU0Y0Axw3evpnD+Rqi7Timx2fkHIYbDbULfxkWssbNhaD3sV7O6pWt8tcv4/4R4FJ4gcU+6C7M1Kjfp3Ds0nuJe6nGolB48kqXyXPLFCzj/tQ85EJldY6Ywd5muXmcW4M6aEuRCINtQ5dgWH3Ue2234E1/VWvpHI9Ty3nIjKk7SnDPhDPL5nLKAaD5W7nk2X33JnMfH80e3ZkAnTfZMp+Q1poq0g38JgWjfTJU65nTlQgFYyXlSIsN4U1+zDaL0zOGq+t9aAJFlDnb/pBI/niSbLCglOjGt7lfqdzGM+1m0rSM9kVb+UPLRQkHpHw9KW4ksxx+ZN/o8h/8Nlhz5sCNZPx7f2FLjBAusBJenaBZmXrblc3xbxeOzJiLfNcrDXaFC9HL3EjFeZ5B+K+91aW/Kp1lORKkjQjgNy2fQKnArgnhtuJU+9jrYb/kvlJrwmFh7K+tSt+iLBzng+A/XTBbYafqI9oPVDU2nvajh2BbLiGI95byvyEfjAIrefkI0qPbmYY4CyJOqj8rWOGIUinHrHFGlTKn2cR8uCBUx8tLhL/DPhScT5H4u9WehxgFUuPzy/7ThNhEMJMzaHku4yXpou4OKQhIWDUFPGQawnLjxrBnTFNcXorSkpBJsgXd5q2CAgtJgLzLx0Q5oegFuo5XM9LQaRDZI+wh7VxIGG6KY1DHZDhRy+DV0gUJmqcrEfrPvi55FSvz2Frm4xIXPsGPOyALvtA7ANE1u+gu9X3cgT9MfIe3QFyzXYM46SHE0c1Z4bc43OVUXrePNW+cMI+tyrB1nv36oIOqSfUt9Voml4jRzwuuf4z9hIFTpU9lnjKlgSgj3UOITXuwTUYJUEckGaf6D7aiGe6Ffi2htWSXY4mW7N+TL3nch3Om7mokZTH229XDaGIPdmGfkaGbTFz1s1nCUgzo6oZHUmEJu+2RTQvrOSSFY596uTF0Uhk+uoFPxLkjijkBhY+IIldif5I3X4QptNIS+Fq93StKFu6NnnGBzaTiM1MSznqpuMyP5b0DnrK+9Gmr2yPl0JOFl+rkpZdwNcr4DzQP3ro6eQPjrptSMZ/dHF+UHWu2+w+PP7YzQxvoG2cUowFKxESvLN7uoxblsnC8oma+z9CuBa7IU9e2dTphnPdHbF9igO57C0tmmR+a66QY70i28cAh+SlzeZW7WNAzGchiFivX+S5xlVAX2pWyDNnUWB8c3S5CCBEA2TPEaSKltDaoJzvGwZ7g/JX169o2y1na8cPn9HfqfsH5VJqzj6lxIkjDs9GzJsEEuhhGdj4wmgLDQIjjnTtOsgN+0Je50hQsTcjJl9YKzs+W5tpyJidFshe3lRTR+4RPVRLOcVlWiMLTc5Fo2cvnQ+lg8wK5gQurGt9UZ89ufqY/q/nD2RFQK3zZbVgDhoUqcX6WJjuMJ46ldfx76bSQ+q1dAwB7T2Bbk2hZODUjHkkka84lJ7qW1kOEKJpArd2j+cpvSNcw3LMigg2RLX1sDo8UmanECixPlD1P5EQI97fhvuq7lyxHyCnLPBREu436nqW8ez8bd1Zc/4bjs0Y9P1V5erxaf3Tg8aBGfzAsQr1mZTSLUNh4wCWljWfiNFehbbyEX448B/n2sO4Rl9JY9PGSel5FY2abI6bgzRGSE0FBNNamp2+Vxe+nGjNWJu5Ims7u9jCT4Zly7pTq1RFmx7999YMcy7g93cE/NGBir/rTRKrEy2yBhS/h6dIhbLjFLyvGV5+4zu1Rs8S/+Wf5gf89VovTW1Qjpe6zGKZNir0OBHJgp8ZGwpsMAE0tDQZXFhSd0q7OWzdcTkZfMgm+q1ztlaajI8wHPTXwKlsSWDharzzCWA0hXyTtejSAkDBS9sm47QxBwZ7AOjFOxsFFwrfJM5azaXgNz6UHsI1dV1v+GK8gwiLYQqQmg6gCn5OrPRodsIFRdd3wyLF3dap+8yEXMIKZNsBVbO1GwJ+oLBl3WloFGoa2BkjGB/s9MhP4G8xpapWVr6pV4JJ8lXBletp1L4ky6C+RDSWY+Ls2asJa/qX+U28+LRqk9D/UISv+TIlmplzw52MLyH/3DTy7ZidBOyBi0fbVhk4sBFB6WzPFqFQzAWdx98BBUvYy3sVMXn7qMmspgjJx5kvVhlTreC2YJj7uiFlNonHPOUjW7aNdVY42jqSgM5FHinjuzILkx5cHWj5woJq2kksGbKSVldfmIa0YUouldkaILntmC/0HHJQk1nTb2D+Ri5JF0/Sn/tg5TpQT6ixvrfyOGsWEgBM9ebNU16syNjdDYddKEMechs7z+fVJ6NC5snV3DV3peB9D6ndAqZI/fZjrt3o80ynwETK81jVypD7JYWyOO3pn6YJy8tn4fIcDdWpi+CW1nhb1tlxrq/WoPj0LarQzei+qwxhm7PIwpkWfrvcHMYiUgHq93vNnKg0SXoO5CMmfI1Vxn8oH1GqxoQkijfvqT3nZDV5eIteEwVXYzhKBb9hrZt0cXPov+x/Q3D3e3OL/3HxI+ITRGHdfoDNqqZgySMRsbHsLtoS1hXtsPjoqaLwcx82QeEsOM7+syWND7G4ZbV0pKo4Vss6T4UcqLpPtOXA3MWLh9EbrrxumAqpaTgJuSr0r59yo4rppQfp//swyXEknnE+UlcE9QkKGRRiiu06n0SBO4mDJ2oVnBwTLjLvJMo07yhskTeR4x4q3geT1QEqqVZ5Sn1diYjcYAPE6eEoZcBUMvheQd6mtNInjf7i1LK5c9z0wCxZEgZ9ufjsNVVtTOkFm854mVoenpte37wot8OuulDv6X3PvJyBttrGby0u5y+17oAnB+2X+XF0ivioYJwsV2WlPLF/EXRu1cbH9H592NXFMsDn8uxe0zbfJfoKmJUl1oHJGK1G0lxJNS4ygPPrFuc+o9NpfjumaUibjRZABK3QywJZpTBuURCnZlzufJ4dXdrYp4ApP9XyXlEN6OOIwhclAZC8p+VVxB2myDLkWzBqeVyakD33mjz+QN3wc9TT+dbIo86fJPfiYXocd3EiquBJyr1y1dBAisNvsu73ufpYDMeqZ/xS017jXKgM5Ub4ykNR8IRjb4aoVQyixkS3mF4pyufbk8zRee8z8tMlJIHs1QddEYejXBulAWtzv3YcxWWE9v9+vU13w6MmMkrAdentYlnirW7dZGUezU3xhQK9YuVOWxNMrCrbkNnq/LYujGYsjgG4A4jt1qA9dAEEZHWytP88tTbEZTAh5KASJrtsqLbejPJOdUTlxrpTxVxSEc3EutjbSxBdo3F6sUymTmDF7MMIOEhmZujZPJyZLM0LF83Q6fLGl1J4wPJxKaYowjOxNbO+rMOXgABVoniGz6GIpC9UicntcG++oicMI/EMTx8uLeVj8E+ahRiOvvX2a7IfngZQAmA0p2LuKsHCqh0SyrbrWhqlvyHumZ/ixDFeMOTLT0fcrn8uwYcQelloPqsS7l7N+2CaxGvoMfFqFf/toMF9qWKbvEVS13fE0wh9Yhcpe1biGqQHmbDZL4TkgJO3q3jINKwwtzUuFZnz2TzVR43wyoe4PwAiclj8QogAcfpnpSPYlSR7fzvMn9xV8z6DfcqxK1e5q6vqStlcWXXzyuucMdIzLCY845qmAMudz/DKzAewhEEOJDY0Pr1fseU0nxNVqgp+5o49H9ZstfMNsX6uwKFoDEqfPwWaKj8lRR/jH5XRUaAX39qAf+Ig+JY+oOoO7m7Qx5KMFBCZg/DZLdO0Zu10U3Jmm9OxIhyqvh4TaC58VdjlAWzzK99asp2OqJFFshJnSgJGOalZrMPNXOEex3Ahj7WgN+zFGKk+4R0n7QNZYtCEn60Sf711oedzRqBzrxWMmD0ky2weKJzR33X1IZlG/RnLJaSCM5wNfzKHhmmMxkMQQq4yFjNz+LZ+Nj2MpE5GozwegHKNdXhW1HL4LeuXVFguKCMOLsL0jCLH2CfN/FhO7OOi4ssb6vEy7ye9uYgt/SYNXanNqHg+8RCjSYLU2McrfGB+Y1/Mu7rytLxuscVasiEeAvP+dpmn1SPIS6SmvEjqB2MFAfEI9Ot9KBg7bsVEfvp3prOsYt7ZNnzTNsyd4U29YDHAXRTNGdhGMiY/ZYKi3m9EwSsWzIwZsuSr/UGQkvLD3pPPEiZPap1nJ5YE20pIIJ4uE1aHffCKYXnCw2oVYzfJ1LM1exF7b38azkoegLRQqzgZrE+omLHQY4lbp57LOG/3u4AqQqolzV1QdDpxTt9bznRscbPLTWelXK6S7zui6vxu3/Rhwg69c6IZrqm2nw0S3UYz3ZsZoMfdOTlGpUVRiz22mlz5cOhPDddI/t2WmVOrTaNDWR38SPh7jjtn5+9IV5hry682J95Mli5ny0n2yXA+qM5qZowDdrZaVTz+HDen0we5MzWT+L10jlC7Om6rxFDL9cWuOcB5RTalwlB6nIoxcY40b3FhKi2ZIKJwZdQtAA8QjOdskYi0loG42EXDtQNX9uIE6hAm6stRbjmujV+0DES7v/6KQhk5cN+6ec0YeYUpJTBoC2gB7WhriZ9nc1kFQPorm7pl3Lf6O/oRX7+umhYHFSyZ/G4olE7j4qXDvCghL5P/fTWRYjnASbR93tf/TkzU1+NaNfoeeVal6dN8wXWbFTN/5JBgTPsGvUkHzqXZMCrABt5kd148YZMJ9W1La8rcwVmDeS83TRnM4AKjic2CIyccaVm32FiRqkMw9fVQywVAMJKipPplSRRKbNqrZevQCfdf++fl6FIrlRv/qTFZYsu38iQCxOMMPXG6E5lndlpAiPhUiEljn/6M38pQhGlFbNbSAALt/TnR9DzbzGuQ2jCJ4n9/6uMLZ4TkomN+ol3yOdWgi9kzilQ9HSr6B0QaAgyyoCy/OA8jFEuS8qSxwpppKd79VMyiM5NgGAv0D5nN3g+hTmyJgPoD4FFR/xv0stlwfuX8ynPXw+zT9hPnexN5DVCTHDTTi/S7DgX41+TxfxEtcAWTSkGXY3rVsVbix6F7M0+E3EV4l8MHuNXOkZmCWqq7nWBe6HeX6m9cIQBsnk2i2VlzQAH4CFqyKQ4aVQrAKFibSf0943PV3Jm/x8bv0l9YE1n1FdA9x1+yqpTqeeedhYODQom9oxSZ+ym+HzYXppnXim4SRVkzkuooTbPuegb25wVL8wLBJDBN34yEOYdf8fcNd5GleWYG/ohTzhLttrdHW7j+HwXO8TMmljIli/5VafxeU2xmi3bHUfe3XjJilvemZEJVHHREHmXjDeMcecLe1OYRvMXuX1G5iL1jdjEp7asXQnBrYyHOJXujfQj3jDEbAuZWSYfHDqdfLmGxeFQtV8/BJdZDimOFnrG6tLWeX/yp2O8Lm9FvCYsO+cU9sZDvX+MTqEaD+IzvyLRAdY3l4IKB9lvdnZFRZUtf1/kFKE9FQMmx6iNfc6NUEMxw335kdWot4BtOvLsrwRnMoP6PW1lJ8+ZQpPK+p6p0kZJktMicYvJHbgFKRAANVqH/QHmllq/58yWdoYtUlYDQWKyfEpbui7IiUm04PV23S1ZNOmuFx1tSazwBzJvPAjs7zhT+1o7Qiy+yGSAjys0CY0aibbPy08vSeMngXZ/JGx6Lyb+5o4Vw/zedKa/X2KjGvBBG+wWf44yYIW7D5d3XXzR7qzyIe0X45GzNRDDb/ZDRG4zayLdcn3Qq3ypijw+oglsBnA7tv0krCMow0C9ReMnvcPg3PL0ccInoyl1MwtuOGLKoGSKVuQBYKYI9Tisxj33bhpi6p5y2vmBo+ESwaEAGZ8NxoMy41RSuasTAoQft848t6JPouBZpd7dzT1WZbMXJTse29y93ir5HCPi/iKPU9592nWhmSXDI0es1MJQ7/LnKNCeQIiJ/VQXyeUc7Oq4Y3dk8o2FJ6pzMUpjHcDailDIHZ/+cZDZnBHxkeCNOWkL3KAOE8IhimTfwaUCT7hmjvm+kR/0k2vYzeGjNINsxrIAp9GvCRRFm0Gl27Wco/TU6nskA8Df04f9oO6PblI1nrnhfZAeyMVguuOoKdiY3TiTKvA7FURLrLSIsJURBVoRsZjeYg/JAN/K+2/k12jlMSwuDManhgIhamMox1Efgkm9U3mauVcr/ErZRQ0ob6nETvICXFDvOr/SoKgVAjR5fBnz0I8+/YFmUw9WN6eCBKilc/Mc8JDDiKO3YacEvRZg70Fjv4jq6q2nRo52RXu+dZaU6NR1LbAdjv7JVmQRBIOAGo4s16MPH6abtK4LAJGIMIXbo7DkZ/EozJzgqS7TXmB2eDp6XYDfMgfx/HUsIsJ4gF8J1Z1vHkHKuubX22gRo/cZgtjGq3ID1osv57Vut4/yfYAe77KocQQ87uiGJ4C30jQlYhEl5+1AnNpm/mPWYWuYTDazKl+0oeMnm8yEp410nuIj+v6Gc2H+ko/rtN1bLvcQOJqrdQVcQ4234Md8VYc28DwsBNlG8N2+R99XuMduBvo3Tb8mmEb5doLpeejaA4FXzvwsVac1Ft38gmsTg/cxT1ap93aGFzmdalETMpVbg/Ny7a8e5DasjiOZKMWns2nLmQlvo8R/09MTJoCFsetrB+pKmfRaSP78lN+EANSMVUWCz2V/iAxHcAOSa8kgg5DBwapYY9coLXEBfbQeI50w41NidAyvkhzFcnWJHlcIXRCHtNZ3SjZnGW2DCZcI5c3giUY4SCWJTHID6TA0fk8FVFRPKk/upfYsWKJwdyo9kIoYPMpsbh7NDOJvlbwF3vEPIWQLO0SIbqWtLYcsCD88XGZC3XQey7iUqqCbknWWY3xW0VTXHCUhDMyAN7LtuwV6rRRD2gfUGHEIX68//609mxsIA826vfkZvgR2cCXjyw6WEcf8O7j9ij0G7if2adpSNN6aECf3eHlHUJ3aeMNjyvt+eFzLrfRLYeFQZc7G4hxf8KDoxMk3bfvop4uJ2U4LSyd2HNvVkR4DuL+/o66N50u/iJu1XT1aAUxs9lF57VWF+oQevh6f4w7+aJxmKhqDSLL5zh49XZsE2OyiXoMhbgQQPKdpTuJEFpEl8kfvicDJ+JaUi/z8YKuLOJX1+tVt6fHiRHLW6xSHzR3rTviAtsISrNwy7CAJ5W/L1TCIvTB19BrC5itsW4OqvrFqdeW1ZXmbHwv4REg8niij0PwOsZa/rKwZKJu7NBsbtg6XLSL4ddALkDOcyYwxvaX3zlXcwkV+vIcCXGqT9Ez1/KejxVvRKs/xUT5kJaQu9mZlruErNji2cJ+Up4AkLZ5RLcTRhEiQmejO4kyNFkTX/5lH7gqNEfkAiyjX6djo0UuUgNcZXN8N7dw5kDeZSNOW8xluBFhUXzDoJYcAaQWXMXbG3vzSHE/RjWHD4uOZKd+4CIvxoMhdpI7MKI+9ZQtFaOQHSk3TPjYcD35/92yDnBDzDsUONALVwyNT5/D3OMGpvJnU4FphfFyQ8DL6ARGz4rnybKWs5SkfXZUGSccC5Jbqmu1d9W0lSv7uh6NyxNCtlb+r9QZnEWcoVfV63l4fbLHJhCAH0B+QOHHw5KX7+8dtKoZhT0gIz9kL1kgpvrm4ybhC2oJSVfk5TJ40sNCD6kUvIhVhrATtDEThZCyvc1sBj69W7W+TLljpFWfJbHt1hkDwzcxBiIwcxIK0W0sgVoLoxgc8sBhPwRZWya/D7bRMzJgSlsByAgKaas2fftxr8Mr3ply/eFtee6SjicraZxWTObXO66IBxWk4Rw9++ldywLm3Q6G/DHnEdG9U2gyQYl6GQJDpmWcRAa1dwsHwEmIFKqVAYEFE4Ty8OIbn0V9B6hnZQrqk20d2G8EHSJ7DJTeu4bcAgFJbCZf+uUfJ/fJ9ShOiWs4glB+rm6joNpOWFg71EGLFJpptm/J8UVeSiprfU/ld4vbNFaR8LLMyivsf8L/2vP79o01x48kY4pRJQh9MgxvTPWqnBDudMcL7AySLeD9Z/9gw78oSAaNqSvtVjPa1w2kQnR/qbIMFXw6k/LJ0HwzQz4/blzJvOcXiErBZdzDulHr1yNYr080BlYQAcu5ewIJO0VLAzEVJStoUpCbHCTmZ9oLF++zTN9ZjStz5GVM/4G/0lHA0D45SgJReQV7iosjTDP9UJ97qSDJkD9y4BrAJ+ktTLVQG73KDya5tsX+IdD+fL5aYK0cD3mshDnsvt5bY+xUO44vmN21qMYbOGLJxdbQ049wcTQWBBhCG3PcsEhcPcK8zABj2X9iiJ2WcyzvJVWjENzvc54/yk/QqntxnTa6/qbMkdv3Q71H+fkqj9wq06XakGhJPNa5oDF5iQm4y2b5P34gbvZMZZ5rBWgJ7bMHJJ6ZMLhCYEgXQcbnJD+j2NbUHjLZVCJY7DlHrsF7koWnIXVIe0zuaSiZENk3IrelKfCOniwMLgMRdo0GeCJnCgAo2UpfOEvS8l2Fy2UvME4tet687syhG1BAB6neyYfGyL8MxBmd7OqevLBQjX08g5X5NYWMxCRvDsI5yU2J+k5Abk0BQ0OPRe8MD2U5Hw5uasH5hO68Qgk0/mXtzSFYzBlcjhW8DXBjgb49ynUc0bXu8/2XOuaYUwT0DkHKoVEFAKkpwFWv2hj60oVmqetgLJr+juWCaxc1vlrZZshq3ZgRI+HVmTRBB2TWBfBmfEbz/iZ8A8b/YlNaHORRAJdf/01EMmAQ35Q5tqTTfjaVAc4aPGkTLVwR6H35yTvDZ+dlkSLLIIE0bvTPW2sPDW8E6Z5coXVaFhrGj6Qe11w124brUVcCc1eDNf+RKrMv+Ab93Xp7ojhF949pYz/peQ5qevfw6Lyr17VoF5Hm5DeiiDC1S9+R4aJaMIz4QXCstTmjbBu/hYyIBoAwom8fST1mBELOJmB7AG4EKyLIiBgNiAqA/M2YSVn6g6l6RIebfF1uPDh3WptBgWm4UHDjuggKlrV0JBUW0bIKiaVw6A4hHJyXB9xQvpv94XQzj+8I1cOR0ToekG4SlOGdFQgkCVWsTlOcFalI7uJmh3ktaS6V482uKsg0kZyp6TwQcvelGxwvdkadKL20hUq3Xm68o/gWoA5JwEGDAzYOmuaOzWOX2Jql+PNAzWT+ZzmieWqU392xX1BwgQ/7l8vFMFoBVWhewnHrzvpTMgP7prS/vtYRgPyCSyxGDtXEnZHYs5xjDLx6Nq98P4dwK4YirGxki+fvTiRy0/XXxMygeJ7OPkF+0G9hKEqs3GQELpB1HwOWGo2x5tlhFfGI2PMUUyFBwFCMqpAjNJ4RJk7toXb+mbMB6jP2k9YtPmAJRPLb476Rw9fJi+kq5YctFerr3920HztzYXaEVzvCieegBFRRPTidMOdPGid/ZfzDQK/gAjBRjnD7r+T0kQ0xG3CWOUk1cLz0C61X73qVnTK6HnSHkzfVAKGpplt6qoOf0rCVClv2ztmxV1Voi84V5gCwGvmuHrTferZuye5M80LGwA+rMAN/HMMR/d3VAPLg+Gi772wqau7mjSv9brUfD1OEBBojd0GjwI/h/6pUeZpfq/r/vZ5bJQgV3Q3kg0H93M7asbdW0puLllnX3osWfiAQftL8LMDW9HEj2rOPWWz3Nbt4J5UO+F7P6vFhFtLk7lmOqrOygommI1AU9ebIQF4LKbS7nXmtXTSQwuLoWuSCi7Ko8KymyAh1ihW9WZfiXlVJhZsJCE98bQMXRJgvJOgYPeybEv9qrE9dAHpBtw/3Zk7xhH+NL2ARPCljMElYXOfF2Q8XmGX/dbrsCBKeu2p1WhBTKlXa/UFFTVz7LNWRrbXTZkUTDbNsZPcW29TnUI6SdwABVVAFRwCgCkfuNMb4RqTtlln4EdksDHnKNtXuM7tr6WvgbxJ4fRWP3Is8BIWRJh/tOqgWgyZ6PX0qPazFxcNImtSYpfNa2hjVJ5I8ggTTL9oFbbO47ApTC0Ow3gsJyl8L/W095vKfprqbNHWTflEWhnEFVX7aAHVvLYxKz1UPyOt1K4MH4Qm3QWovacTiTeJee17KF8q2hupEO582jT7QDuYCEEKlYh46yuAzcaBWEbddnnqT9y97ORg/yPncFYPfHxl/U/1+wj6dayF1QVPZ7Juv73fx0WQVTAXxnXZcdQKO58B0ZBko/PVgz7qhSbpWfCjdsniN0eG7+C4q5J1VK41m4BoaoQ5Dp8N9v+q3J+FeWwvLgcohgAYVSZzEFMc8wjlNaKURl3ss9WgJ+LkQFv0litkPGrLD6rCOnMytBKcs7vRnquPozC72trYoPxhcvkNFWDc9SrfoqPXzPYKfOhW6HPvCpnYZHI7ENTWa35hQuiBkdSTeYfuMMPVVrO5+zU9zxzmBMWgXTqr/8PVqN9de3sMiKrLSrXsj11QKo6OvNY5xJNFdeS1PDI8nbnGh73M3mrobQSBx4dqYIUO7ZDtGUrNcF3R5WBdtATGY2Dv3ky1giQRZ+lXR3lToTy5WCivq26LzZS7B2Rsiw3eKwNBVpLVJt5W9m7y1SfMDuQP6Ws05D6erf9H41mZP7LSpVAdvZO4tXZ6FQ5IHwTu2b3cCVlAEWTvk5e0GA2I9y8hUh5R3XXdl1r7jV7J72tccLMb4EH5htUcbP3ubApQr17XQa47mblIGgOt9UhgCzFYH6x35LtBuenveNKSY1dcrTffuAhQ9yF7180evtCbu/ULPm4+dqyHRRVsJY7ysGn+jpBNHMUCvKo2D0MNFW7qOuaikIzFyU+fBRGQQpk8d1wBBGXiM5vhw3zaP/v6JqT2qWftUi224lj9Q8vk4oEQOJUBHJ76MazSzd+8RJow2cDQhn+6/ZsWlkZL9FEZnMbTZA4Q2/kWEXrXFo8MtMCV2P1b2UavEm1lxANXx17rLmkd8lC0zEb1PT6oDpDDgDYxAePCdL/4TODLppeKgeoyrEILLtRNC9suUxN+//ra109JHWwbMAjwT0pa9akfxzlgvpgMVGOEnTpywJHWLvR6gfMG3ucSL3q6MLn1iv7PsA5IwX4FDqUL3VgtKDhZ/GtddHKe+4NlRR6ENlbiO5i2knKFf6W9PEAab7S3eyJRDCdxiAL+aUYPvDBoWMNOlGJeyeFo6zZQoMh75eZw8HLjzySsTC/HzjsVecej3Se+OamcEj4SaAGWI9mCNjHn77iFSi85FAIpPB1J4Pb1c1UzRse3mU+lpi0060UwQtz/o7ddRTTscVr1aP4z68GIHyH2pbdhnjTQrvGCiMBMK4G9MJH45+9fMyWgR+SzPIBIYZckG+7Jaq6cr5zHcl+tVJx6SZLUthrHCl5PbV4inw20AXqoiT74jpLJkzWK9pj8J3m933iu5ZtV/wQpLsYa5ZZfNhcUaEJLvhfG5zm/2gNAvR4yEM2lzDGDB7lpxBsrxQm9M1Mnscts1etenPuNfPBGbYv73QBafTKo05MJEhIUEBxJboy7XDtiRqmJwE0tnr0rS936k7N01KOizjdQIBFLuSSW3GhdBdsJcv5+QHL/NBIyR1R3jUgrRZmx+umys2hXR+UvXtF/EDrfdzjLl7gPbU6A++KX+HLE6218SEGhGsZm3LAoNElC2eqkTzxPmdVcrfw2lp4Zz1fwSyhF0Iqo02cSypFmplY6EcS9NunkE0t6cUlkBdpXmKHE2Owsd7OxzIDGVTnub5Y6N0h6KqKlkDQhbs1bn0sD3FxXAYSnawkSIRO16w5Uk5EsJhy1eo5TQmUKckeoKxI3hKE2E0dIEgyJ/BhJykkLMO7yjOEvHTPe+VderPzZ0oV2+om9YDNnh+aY4a5gdCZWEV8ee2mS284dEdWlqWOvcxUSdknEw1OekibYcUD7/tDAzXTsqoJcOzK4QYmYQ1oI5N34poHpQHAMnH/ZSNiDv1h1Hktz0v7/W29vv8Y8hTlR2PNpXOqWj62ZgA9YiMRKdlkoNxB9oKVFrfcOVm1qpCfcZnR257HA8bkHZEJ+Rz2SkrQyuOjZdGzHyjyQWEqPeZA8k6SB4zEHIZE4Hev5V0OUOyuRFU4FQbe3sLyZLtcXCafWJBwApMfV2cjvh8hbzkRPMXJM4CYekXUH8+c8MpO27mc/k0u5TkUd02MG0jKFCAbsmNmMlZ3aw3DWYrYYEJKBqdblVY/FL5YHMKGkbbo05Yj9VmE1A9XW/iR1nmQdB5kZoO0P8QS7gV7sy1mszzEv/K5dFxlDuKrVxr5FJt3Onb4D0ua92waX/++oFLyDFoZFIp/0bdXwltnAr2o0biQsvyQW5URnbXjLwipawWk9mn6SqDbATDlnSkCPfjol8hCHE2dQfpEpoW5wHmvASxctBh7W1Y+vFFO38HIX4YSGCM4Uch/cP6wT4ROuAv1GCtHoZCkE0ZQawh2Z115RXrtuK1NsOsOe0XwXdpMvs2WVp9DjZkKfy6JvhHdvTH1b6mQK2lITzXIR19/FOGAyCYsFkw7vgJuFT/ttkoCiSQMUkZltAePt64IPrDZnHlgzpdlVhOsW3P1rcWE5xuedQtls/77DtfhnI6udf8dgWkrqQ/iM73C9k+EnQDlC9XUWiBXp/kDS95WGyG/zYXOZzGW4WoaITENUnQK5Q5AZeTtIUdcZLM2a0wycN7h3R3eS5CrG5tGvpcUwWia90QtdVQW6qPKRDDa/pBBRDIwJP3RY9nJ3jyaUEo6KzTC/7wgwDdG+uLQBHbf2Fsy0PnIlKoQ4R9TXun/2K5PIs2fYFG6IoM80S08lyrPgk/HG7o8tIW3IxynpHUM8jScs26UlBQGH6CqCklwZY+0U5hDXbDkCp85QJQcL0jiclze9YWOH4XYixjjowuc1acfGPUT8M4jMACC1Q6x3s4DPmgiq62ZHuNd2SxiLtZtCdh8RYBFEwt/qeXovyyebb13b4xd7FGxnUD7rMhQ6mBqeHKh2vpbIunwBcqATb9mRClwK4EvOaGnnJd81AlxleLie3hWjWjlZmQO0BZ+ulUIrYfs2BpLykiDsg764Z0ar2UsS7Vhd7jqjC2vCT9ajsRlD6gBk33WVxorxsqx5KodOzwdYFyo3xSXPCX+kRJog7/WZx4rBJJNbVY4OmAdoFkbgkpxgLZj6MLHsNMQlCZd+4V7F9gSSYmgAN7I9IUT/23WNjTihJxJV7VEL/QsHKowTCLpUKS98PFegREmRPpVfBnTLwvcyotDocXVpu+NVMiStG7a51Bm3UcC2/S9pFpRqC4DiPMUGVdqzsW2fCfzVJfRVohXGU4cNy2IB3DcB9lxM+lAitWHP4lAsTuu0cQZP5uSFhuCWeuXhYRYY55gEPcoF+rTG9EfklfyJwojSaSW/M6qnCJ/rMECV1To1YVUxhpbItR9zcuTWHPkU9sGGKZGfTjOpU/S98BJnY4jHqWqY8P4iJsBPateS5WDds7Z4nI0DyNTDZFTWvSlMKk+5gnok+N3EtKrUkGAVFvk1YNPKqoy87JvW3wnjS66UIupED9lYfNb/j0Tf2AEZgvIyN2TT6Mem5ChtwyxXfNdnqhMvlSgpifIj4Kl08ZkgPkQ3s8Khkg59C1ny5b2xxDr4HxX8mgd67pRV3MNAVCGtxAml/gmuGKLfPMfH5eWMSWVxT1LURg/nIkLwAg1xGkeiCigWiFVVqsfxk1a8dVcAYmUFfM1ryn7UVtmWMDsjJxRNn9DIrj9CshKNhd5KMkAIwOUkc1NMDiBzBVIiz9LsCxPoUvZ9D/U8P9TCZY1gu5bZVpZ2xDXHFfiVLBHE62MKJKaRzOQ9CvSnCgGLfZlE3hCdXD5dqiQb4LCqxgPppMKtfZ1Wdw07jkBvEww9n/brxdjWhWwqkGlQ1whSATV/bkh78SjzeZmjwJdRFALw1dl0Q8O+OkEml0JE+FT3zc8ZX6mUHuJul1vi/DeCMeNO4DlArardtv9rhC7UfHv9SPONH+cTJUD7msHPNYcH+5iTcNnDcFzax8zt8NiLlCXjsnj4TWX9EOJ77ZhXCgPsTJDKLIe8Wn+59bMhF4xx0iKKXDQFKe3OpiLJf98gBZLL9FMPuvqMcmeZUBqT46ud9+L2Om5Tx3a25o6ST4wLHTP40Ufarr51LA3AswzaVUJtqLUgg9xdVMGaWSuwDvberGSkqZnmIHmafnl64+Lp8VDWddDAAqU+DxTwK7Z6a8bnAucTIFyuPvpDqMK6UllvewCO/uxcoWPhD0e/UHHGWGLKDPi3RkXK5XDSaOmvOgywtaCCAmltgdZAzxrgDnxcUpQcvrXi6BTxe8xa254HpqANY+iaB/d8TBrvrJBLFOUfFz17oWu2g9H4B/YkLnaXuI9/ZKMEOp21JmJoF2cURvMV/qb08yAr7l95dcyR0AVD58RG6UATu9gFufPd3N8OPlEg4Zzf0aGHB1dqFgz1VCV+fsGF7Q+klSvrgignJpnsAQJxUGi4I2ekprLbIDGExjyo1X1Cp6VGVS89vVG5E5whEdzb/joa6INg4MnxT8gqdULkabMj5jpRrOQILpHL7RT8WvULXvU64ohwbm1gshyeBRYdyh6x3rpXGvE2U4NF6LpTeCa/7LNAhbujxdKQrtGsXGsVsxDq41hypcuFVHGtaJ2H6MaU+u7nkmSWCp2/9on3qIc8t4GeON2IMrijFA+lorlHvSrWHMypWoMYXjRYoTdW4cu4Ygu48M8LjXr45psWjtK+VGzZcdEolooWxSceK1jppov3Z+3mw8gUJU+7p/4kg6+4jwqEcUDmvyNVwVm8rBdSDIzxIYwWjDMzSIdJKrPo9GTrAAcsgD/YRO5BxZ4M7Q1cvBmOa/a9E2GDQ6am5ao/l8XOcSWJkgQApng04LvAlhFmv19cy7tgrUyP3xfHxyNS74/BiIJrBveoiqleLFWhlaLpKg+qGN3Adyw9zwJxFmMxwNvz34mpntrEiskrMu1BIGJe7R1yqs/N6U2DEChKZ7MjtHbsUMEKJLC8oo8ePwQnUE+bdQDjX5a4/9+/9onbbIiUG5N3yBpuwzG9Uk+ugVNmEp7+3fBBL/RM664BDXS0e3vLbo3Ee5hkYXnJj0toJIzMbrWyKZi9aJRdpwj7upyva/ugOTxIOlXhPL1JfWjSnyWwe4GIpFxi6vUVoHbF723csW3iNPCT47RSly+XhDkXp9f2RwpRki1MbJ3b9PSP9+n3esjK56ue8KWnW3UiyJvk2PqooT16CwGgYXT/RRutCoU+bYRN39rFTWGTpFZwV32WwYldNvDp3fpQjNTYi7IKFZYf5xjIVYydTIbOW5MSf6JNpHeyRKF0O1EyqIDLjRExvR6U+KE1RDeJofTOF47dee27J5QR1zsTIPUqxx6kwE3mM4xUD5+QMN6xkvkrOmWFNR2ZtR4oxE/vkMQT8KMeGryryk+EXESDPpW4vOyqEBp5kFJJHEu0Z3S6as1aaZDPJlH3QD5LuDABMQhE9KJT0iv44pNytI7T6cTtZ5fuddJSmGsVPtfIEML/hx03Vjhnx0Rvu/S3m0pWF5CcpTU5DxGQpbhpQ09S1QXJxLER3PsGmRB4KZIo7ipSI8CqRQuuYdXzZsLAM+RBcxVfKuIXpwYaQ6ZxBO3ZT/iSIt33mG9sWQHfQ23k7xGz67n+MAFlzzxoKSu+p1lEfX5vUiZjKxK+r6rxJBeBIYAge4GpwhkcSSA+Loq+SETDb6yzy06erCS+sot4oVluUWAKCFj4j+zSR/fd+swFQiC4gmroR/t1KNS0c0eCDJOVO0mPzwaxeDwuy60vKGUddeIdY/QgPFxbFuK/fbM+tx6enYZ5aSKBxuumUm787BVxZk5I+tSzHviMY+uNDOUEasDNrctXD71t6a/wYmX81V1BAPu8WIxwePjKEk3//HOgiUryy+n13V50sjoWYbomAaFXdYBZyOPFdELJutGo9FZSREpGnlytgc+uSfdYWJ1fIUFc++olHl1JhU95schjilhCjooJVi/39uugXpFfZ8rZcbPBGuRetN7csZlNyr5+HnKSOsXZg/l9MWmcupXeX4hgU0qdAuGn6MWkKyEt9IfJ6Ld9djkcJTF0Odr6R5ZqcAvLrCvuK0hB1rHA8s8fFXDgOqjivdjtGsjyOTe/AbbzZl8iIOIQJSkf3gmK2Pr9kpAh3v4qxlD80ikq70hDMn7lRusxauuHVvXjM4V3mBoSmZb7oks9VZH5A0tf4sY3drzUMl8CmBiSVSFSFZ3ksQ8qnMtIho7WBNxfYfO9WEtMcKy27wyXXdpmY/T7XLB2QXu0KeC6gSn/P90D95fEuoF+vsp1eRyqoqEZr95bPiW3d7+4lwygbCUdTdaLPzL2BSxgYBLS9VqLvQMV2hbluh0edm1YobNUzirzbitodpUZTP3Xj4Ic1Y7TQKwGLfC7MWCyLbgNS2lmF+FkTgdzexpbXMaueYaJzqjqn1v1B2hAR6dj2Is3HnqoJOg8worEF6Gsh/QCeflQOXGkdnsTVkiUfrreBbKPFUAtrAp0fX7ld+NUXgyC2+biy99REE6dXC4DRFLU76fPGYtlZV/rjfDUhPLo69MaMN/UmYp1cu36FF1//lTizz3oYNlPtDvkrdYdpWUjBJdatoKxF0REQNJXY5gBUfa1A0ZQYMIYNWV9P7Z97Olde7bV/0Wylzk47NfNY5qNzfydLPAvs6NBR5mN++KN0dM72QvuR1IDktXvTcp9jIwXDooylpDIkjHkRELobBuS1YGRCfpbLGlntd7l85ghnXfHQwp+tH1GKtsVWSX2n9gVWQahQLQ77gJr3G3z6q32SOb+jn3oAjaSc1hozma/oxQDBM61ixwMFyqMVkOVb46TgBAq4U43wJiTLqTMCLhhbr6YNQh2tcoLv6lhXFlVkol9aqtqFMEal6cksawMJYwLnRT48A7mPFzfQ1+pZka/BOdyhHSV7micj8ONsScYI3ujpQ5HG8YaFYwZF3Hv86mB0As/u4R4pECMbOD50lOZgfBm7y+ZloxIRou4TIIMpmkK9NKU1Ko7reHyz7e7NSZpPTzMZvVuFdppbe+BvONyEVdZNMZYgW3fUoANNTTf48Bw4touuKCaapG/dBzHnUdzLyH6MLlCNDNQPZG9r+pyPkPv9i+mGXKiEJH+0fR/SQxSEerN6mTxeLt2WjSeXcrJ+v2WCUgigChqoM3ckAR6KC4KjS47SbQgCP7RSh/nhcEaOKGmQBMCkUDpTy9sfdRW3hl+mgfEY1okFGdTzn6uBw4cAKUVJzVuEc0Q9yikPpzWzOg7nGC1eZAsjFKqAnw5VR86lH0x7VaT6+th1KUH7gKj9bWkgCIt7QzWf8gR0weCmfKay1brn4GtLkrCFHzMf7/W+LBuVTya8tKmj4dDL4aa6Gv1iOvxCqpXHFewzQX0BUL9EDc7wBW22CmUgVyYQgrKOcQjy3a/z5/BGqxbxq5MK/adLDYQI9tWG1Ql3o4/gMZef4zdGyqX/CkbQ1SE/rT1UB/dgdPv3jAJO5YUYIsJK6n7MnJXVp0y93kollNmwMbIVCKGLRtyWDLn2F/UE9ZpeYx7MHyieOW+gPjysozRIDabAwToLOZVRq0F7BAG1qwOlZ9UJKpfg1M9N9ZvhCzlui/Oy0ilFRtk69rnobfO0NXV45Ap10/XJXOEqFcf62ZzsrAbpWaXIcb1NE0OF1Fs2QFAyLYm1Y033LzoC70W5PVxB1yx38oo8kA3EOaI5/uBFYA5BbmwxH87uCHRlhYO03UXidxVCAeM3gD+1SPygQADtz+iUDm+rqKRBbXfGBP9hOpa9Ast87eoCBiBqGMuUail6N2Ky1+4WzKsC/gGtfRiV0vJ5dpjdfEmVoTUhFY62ZMFV7NUdq9NqbkZ896UZV59sSF+z8j2SNoDbTjGOI4E4+mvWzCy2WXVl/P3Ec6GAyZ35fSsLNQvJHRuQI3wWolItoAgv32hgBd/BBG4YpaBuLdywyvKF/zyRslFjQCOR2Ni9xdE2Lxk9AlCl63WsZ/ZsajqSFfLgUrGCzbrXgEJ2CdMQPo1hdcq66HuqTK+b6fwpMjrtcVaBpln9Z1kV3nfOIjN4GOcm6IudRxFjozFuyi7HA/Pys67pz+rFgyTYKl4HdkmosLgzQApwX304Xkq2E3OMSoqnkGtKb8UyUvdPPImiZQQlPr6DecVVxDOsboyKd3+AWPvMRV5Z4DcaXgZWuU991hHdC4TBnr0lS5hmm5vJWUcmxurDkJ0uVLmH3Ih6mBlqVYT96DZsao3sRAKq63PQv3P4qZyDWIUZcLGOnxqNkWl23q0HMPb0q9wM7E6jJFQw9CaalzPz+Q0qlUsHQ8+IznnPzxJ24Rektv1UqbkuORdZtdsgtE5/OfdcSl1h2Xxr/7Z+WY5fZ0XKv01+ZaAm/vUX7npkJ1i1MI0lcCoC7iCCxk73FUxAQzGWTlr2DPzSIN2CDdDlSooiuuSfGT/JBlmzOMQYtlHeAkkkMnKgDS5dMhR2CUhCzzIzJPiwTsg+jzy8OIrFKv4HWtqnFgpkmO5q6uoTVxfWv4HEg1S06TAevBQWdTFrWf0z4zBNIJXgZj4vr+YaK4KNUvVmVl3+ez0pd94KA5YYShFA8CbngcvMdRPOYtqX/IUy/f0FV13qq1Q392DEE808S5azD+34otSQGzgdFxlT42cj99V2haIRnvXajWBfCAXY8q4OfF585KPLw0jT1WLJVZvfIM2SORA83ObY0ZB4na0KmkWRDoA8YASfFinYE1CFtFBhCW21S3u9csHCGuBmKqZDw5sF8VYtIScZiJW5K7DTrkpNxOGA1Kx70bUJUkGId+j2wJebmsHKNkvJXqqfjP4oGG0HLInCeKwjSCK4hWrUuBYGCS7N613tCTjKV/qPTrUK0pvM1tvFCf0DkUfJi9iYb/aljQUl2lokGllUrRKIryfnD0TbU3YEQ5SQvLQ8fTTViCm8ZPVseKj1YJDKBGM+oBPrbWqSgOt8NPwq4afc5sl/XkYkGZdqd9YYRRZ0PSCSZ8qO5S3ATO9OVa8pbR0IixALgei0KeeI+9NQOk90QdaYefgcy7i6aWyVXoL31cmil+wIIeRVnDjJX9iArICL3blhxjS4TqGdiu1HvNKao0EkLQX7A4SmHXH74EA3pQCFaKLnudxDwb8ho5xYW6QEKghfOliQNIbmV0np2RIQhj13kV2X9Tg/JebAJr24UyNQU1XQX6fvx6/W3N096Lvf1k0i8oxPl4mcxZxFdcM0J8/C6i2V2atQTCLe6pu4bWRscO3PquL5Ca2Mpq+ogu/dmSchEymsfTNO8kzc+8Z+PuGKdMoWfpHf7frgkhJcIchMAhiF2uxTpeYk8BawS+AvsNyASBkkwhM0bpVKxz2iqrSZmg4c5D4v0pYLpYzI+6xkTBQFrA9X/0EycyCilEB0XMySAD/9Krc3Be0KY114XxYfehxdHwqrrACY5jsfd7LmkJdCUQ6MhQh5k9gJyj6nOOcyR6CgIMWRdBPnZU8Xyt47HHcCXdUXgGwQvwj+iDDB8W74OqRNzvYmc4kPtNHHOjSu7x2j/eB59511lEfMizgc5DTy7mHNQ3kblhqd4Rk2w7CAQb0Z7fMIA4SomYmvbHqPVgYA4A+s1GRK49EtXr2viLlt3A/C0EtDSX5DbLhtlzMqIL0he/Ig+k6CuluysbfjF7KLFMDtVYN4MjhsKPQHJNX5H2opRWvqidOtqqY/w9UyS4/wo/TkDwVHhIB1ZRnpEOuwQRpG9Jl6OfOYuiVF0OIBx6rVKqZ6ng5eJiODwIkU6FH4l8XE1tPLtIbZKQfx1JkU/sHQ5ohDv/KDTBvcIvp5KOPW2sHNw0M0dL2iB1UXvnBKTHEShCzQKhLM9eXkQV5cFw2yLko0rgkWp+p7zi9IE79bMW9aXyCwhpCe1/u0uhdf6DzTZpej488wKxeaWb8r3wMIglN77x9pxl2jzn+I9wYucFrzB9eevuzCiVREt+kIR+imyNG4qz1GqiSEvo6Rak2OkbcYfCQVbYGa/8r0zIUnxY1xx/WksBhCWjoCYe4TPBr4ul9EGtCfcjC5P1IXAL+MnZEgGRANSO3+Pdolc9bDROfu2LJnXjtMJh9enwvK5mg4n1//XPren1Hqqo1hysBwAKCFBOub5U2th7Jj/u1/tUwkYYdRj5CkGE2mu79WLwIeRc75qu3t45tUPaKYINvffIHEaG8AMzGoaxNabayden9LSORFlvbK17HMJml7UUyhGBxP4AO+SrCTfpfsXZY/eCUTH5dpd1LUT0Y/PXjV+Z4Mtwxc/K55KgvMxcchI4nswu6x6Xn1sYUoPa7zmGjlf3pUk+FUmS3VSO5I6WyETgyr6qhbt61PFWt3SaqHacaSxgnr5wHXzwexE+U+DmEGdFBTA+K471TxL686JDKqQCHC4kH1I2I1djWl3C/H8tWITSL0i9j+cd1WAqaI4MMlA0uuuXDU9LdQdu/hkO40KnTWuEwUXLDcJ2Z7A+7mLEbpvbhHjcduSgHhPNnBwuR8I757QCWperpqfx/5XI6dJUqjHiFYJdQ0FTRu3VmUbC7PygdhxltQRKcm/aJSTOLYaujnp5UBRxm3Wb4XLvJIcCPyQQ30SNq0cvR2TwnQ/U/jyIUD1hkrXqRsIW9K/EKR8V81c7P+knyBdz1SIyokhgJOaeqwpYnjivF3+LOcPY5Dx+uZQ3GY9Kdr/+Bup57HBOQMaEscBR+Q1bJzPWY1vc3HCsjkR0FIf3oZJfEt9BMKtDeczQqYUntw8SuJrIa7K4kiFngv4/B0vvSAP/357dS4g8rOWe2PmHDdMYJoWR1CeoYHrRwlG+Na1zauK2wFPWOydovGppq+6cJ6N+K2GOQ15m4vLbP8KtLNWNRojbyt/YovMnnu7H9he2TVPJA5yPufO4uCsWz0lqx92epVVpNgI6HzlcvZFi96w7cCjHlOkPysTrRhloXhcOL68gT+DGxn0d5wWp1v/5T5Xk8Pok9m2Z+5308IgzGr/6MNX7n9rKl4PfL67/mJK2stsbRjHUDScBAwrfTupGtNC/SKT0acAI0FbmR5uTDFm0/GOezixJ7wJqG1D4YmwiLUev0hnY4yhdYE1kMkConRCKKGh27debl4urqofVpfEZbmEiQal+IDnsFO6Em8vTnJEAnwbo5It3atWtBRSzcQoG2P+f8iq5PsVItZIf69DWJAQkJtA6nYeN3Ckv3imNd/3tsWKG8x5IwgNhg1Hj/ZE4dtTXwQ+feoqQthszDNvhWO6u7g+Kl7z2okUT8QFRRHh98SgkuAJdkzDtZNbvfkb2RgLm6mZ+E1D1bJstr8MXQyBxL3j1CddNSY8r73+811VpJdNs11/cA1v8MCrg9IQorQn0U6VEGjiORJp14RXh3B0JJwKZNBFxgTIIVBo37O0ZZwu6z+ZDUT9YF60cM83X+96G0mEyWS7eAjLP/p4OSZ1tzKm84xbxB6pfqni2qBELtdwoof7s+oX19zrGDkINlIseZ4OUJ2Mz6t391VGiPTftulLr6qObi06UQ2JBz6FKtd0dewidA4TupcBysN6LMzwBistkS1356/LlIaDh0WK6blL9Ff7By/Kj0irhaM/iNpW29L1cRbLGM3Ucu4Jpbxga5Rd09raX036As9JI+HDwyy7jGYB2lMwfF4kncHGI+9xkB2Jc2lEUL07EyFFZlEUQSJ76+tlP6XzIyhUb1OGAVp26vucvmAyM3BIzwlu9vD2NL/nXqahcUuaCf8krn/RIEcnHy/y6Yv/PbhBPvZyUoaZAgSReoUNVLqAoFRQwr4p27V+UHEEMgydzLUA/QtjsOOguMn6M47g1sa3W9M4t7VsBcStKJZ0JNog6W5nH0LL6lSTX2sUlywUeXCjxhorYwQ4u3tfNiuSZGAOLSI1aaqihdT7LH80FYXVW/1+KziN7nXY9HkzejqJbIzdKq7Kf05zCxdWPvIW83W04iUpEHyF08L8q/sE5JgUuTF/iNXi0625INlfe58M4/t122Zj3uLOsAE9pl29I5OHyDcnXfGgcLJ5Ebe1dmXDsvKibYvukFegMisNGAHlvy4n5/AHFUwfdsbZ/TSYPuHShumznrOHvN+gdWBqjEyBEfwv5kmnUb2po3uslH+yk5bRgfV0xJz+k5mJ9k1sb//1/wJtlfCDfcMomRMEUSZiRr156cc0psFKrZ0ks1eJwmv1s7mdGtoloM4FHgBy/uKbp+GjDEUJxiY33m9s1ZfZcpzQ2pDl3C0VY/VnedqjAcav+jqZrYEc+y5HN6c7+p6ATebH1htXc6jlzavvIJAkB0ZZix9QWd8Y/La3F3bpXar/prRwZ6Yv6ME4OYo7mN4njKgMSOJ/6wMGoTgPIMlZbMV6LC4I3g7d/N6r7LvvO2FmLCDZdJdIt8sJtkqZE0KgLcO+EuQC+iwbeMYk3ASo6Y0hfKElZHXM65/H/6qDO/gJvi5cqH/gGTdEe039h1tq2nx6WKzwD5VNh7ZZyqAmSq4znJND12OEEriadF4JNor1fNK6Ll3p43QZTd5xOnWalRco97LZo3WKj1ErbCeblluLyKpMwFvVkaJjgnI2GmA3xOISPmjl0kXO0OqtYP7n6JIuReFFa+H1O3ehzC3l5VyzD3QD7+hSiZjZ/+yvjG/BVsPGAQbUpkhwQFD7NVDcDyOf6Q/DN6vy8abyZp5K1gnaskd1oQkRqanCujO7Rnph+i/r+5A4dzjZoYc5/pBsnXp+NGruimS0VR8oVeDXnE5WNjq7N/f7DTXxsijnyC91seo0m1ntG/SXzkd2Bu8fqmJYsFm+MyJxe1ihQbuSgCTSkEu/TEmE5mmU3GGI8dD4IpS2VIHBnYaBGBxaCiGDyx+aOHqBqqGRxFubO4bD6+oJlsykVlkMBp310PbGKlT6/bQFzUPojqK1MA8RTX1RSC4ao9VpG2GVYFuVnZU2QgyT8psSMCD7mnR+x1MrPyz4uAgxSbUKFwVvIUQseJUq4NuQhBcajF1qhOEJ9gxfzjs5A6X1CqXReMs5Qjuz5hjRsNfoCyurSjWuzHyoyOlIHSuMAmhhaGaP4bIBYwnZ5Jqk7g5NiC6vqtVTfyhQinFFgvpUWwXNk0r9G0QvPATjFFioPlNojNnkNVTHXfwlhUUMPM3L65gnJcV4JbXjwRw1dzM/QBF4/6/G7wEkc7mmzS5Yk5KMo4lNuMetBwW9uMHJ2OnL3P/AVrCz25NvpUux1wRR387bIJ3RnLcV4Wp8klaaMd113Kj6IFnqfrTd6TUZIgaMLe49ygfeOpAK3M7zz+FdzMS1LeszuJSo0FC4iL7tZ6Y+/4/pYXYfFMM5ECJgA8HtvrhyvTRTaWZg79tMLmpm1IHj4rOiZF0DMLw/x0BZHw8ZyuUfIP0KgFMnj+3zC2q8tGgQLOvo9J2B/62SWVUHE/PdssPusSITm8FybQd4EmzLsV2LNB6vueBTpu+zWe2MXDONbxpkey1kEAaiF+KYI9kkoTnmqSK2FB+iSI9RV7143+mT/UhQk1piqhNnNLw09ehoLpqJfwzMBG6dft+yNDixV9gasL9FTfY/iAFJn9BvXRNDOgp1KXwccPcddkbQ5R+XM8Rhwm9uQgYI1TdlOPd/+hA4LecVIhiCSmg/sV1oYQjbs+n5YY1NMGYGBICd85JIdDf3v8KbFOqHiJzZK2KqUr4eoE97Tw9rCrkrP74lsTYHRCVIqNUdoZ++XzXRDblea/2hL1gPtcPPzaD0dBaEFO6+zoSWRirRpI5honM7TuqBREz+c+DdF0Fjm1wzbvcRA1z+DJuSIIJTOeiTx7je5FQqJQUsBEWUrPfPyCgXQ3Hu+cicJZXIONADpqdLgSQcw1jyfOI4yeKneY5BIVFh15QirE6tPD6n1+k8S016190s/8CVM44NrxhDaDm5ilndLqNlNfTJguyb6k4BgxlQaHJ3Bxr3KI4W4MzLYZySjogUoAH7APh5JWLE1kYJrg0WmnGu6vpgaynPdioft+W8IuI9KGmkEJkQx2dM6maS+0bWAKxvtltBokDDJAaaabPPlc9UTj2bSshiWGB9n7EfyA57mDp/zGjlGHuin/IQmu54/0mMg0ZNJiQTjJjimJ53ALM8SOn27Y13P4AQ3yxr4CE7p2n9RdrsittrwQhWE2OcL/OBQphHFPG5SbzJ4V3Gs9NEV4xY6RntBC4XCIP3OS/JDMDLMJPFZFM6z0D9OTi9KiJgfEpjst9fDYTIs7+Vv9Rs4wxLzEH8aM9nS8F0QdlNV04VjRu4jpXwTtI7uHp3a2SOs27+XvZ9u2dWXrk1I0HgJnXlBgiDAHDMhitG36ZgCakyIQBCS9p9d+F1R8dPwddWo/KS0RDBr4tjleNNki+ECQUvyjolJDYCfOOVLUjGFMaQtjSW78bN4lawra5RIjPxyLpViPvB+Y4uDWW0CtGTwsitOSW6Y1wKWxwnBJVVpw7k7FYlkF9/UwvL9FgNgmUeRNlpz6BYH+ZRRNUZ6FT+u14vjWPjR3jXnp59L98/5oPL9Dd50cDTivHsk0xX95p0yAsrLj2aoydjMOuZ5MfVMkY5QOcWKo3vy5n7FWjvWilZSOXB1NVglgQeCvFMAcqRZnimbaWtLwYEK0b1uu457TOgrICkNGNzCkE6ybC8PFxls1SH80sL063oJJCjERSymLbBqUjB9IqjD0eR2Sl8NqTcRPQcMOcnx3fBxJgaihPVV2k8tBvpKcSoLlhhZxuzVXbn2QDNs6WeOz6RIBauKObbe4qm9mkPMyb+AD4tzX35obnQHix9NTy6XK5yRz+Kv6VZISHEnK7TWsF0h/twFpMoUTxXxeYfMrgDHp9IR5Fs5JQHWAnrczXOguIRRwKgvKcQHuI9duYeabtyzTq/P9GR6xMWuR50fj2SahxdrEIHE4jBhCtajpzzcVUeUK9ZYdClSIRCcOUq/9rgr9aUn1DvdE74C64Iha7SuCnOUX68BSNynheNZHbZtdAdUnGik/CIsF2YyPg59uRv8pK1DqsDTzEqz7b8AV45WpiNLSCR1+VhMfF8MOQi9HwAU6rwRdlXYL7bz8VqlNRKvjC2GqO0j0F2+FsEkqxNrv4GbHwO7kejNojsOqaKgrS/MDswEnkLyScBnGxxwj+tWnoqMJp/yEKhAhWafzhsJROfzDz2TGyv6vW5iin7Wjcfgp0oCc7zbr+K7f6onegatPlU3UrGGaBfC4U7F/7KsIu0YV0uuRvxU8kAZsNMgXqEuogG5mfEDjQIiI5lWMPqhX1XLrSb4h91GnnKpNfmrO08JntECcojBlysQRL+xD8IPTOpXTViX/HJIsgRPZxd/Jxi8ez6xovJsrETG1/z966ZAVcXGzWE3Tf4Gpegm4YJ5kg4lKOAX+tonLF"/>
  <p:tag name="MEKKOXMLTAGS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12DAC23EC22A947B921631DA9F0829E" ma:contentTypeVersion="15" ma:contentTypeDescription="Create a new document." ma:contentTypeScope="" ma:versionID="fc941df8de87d0c3cd0db38cc6419e0b">
  <xsd:schema xmlns:xsd="http://www.w3.org/2001/XMLSchema" xmlns:xs="http://www.w3.org/2001/XMLSchema" xmlns:p="http://schemas.microsoft.com/office/2006/metadata/properties" xmlns:ns3="97852e4a-c3d6-4236-b720-66b1aed79cbb" xmlns:ns4="36c9d7e0-cf5d-4b6d-97a9-fecea97a2dc1" targetNamespace="http://schemas.microsoft.com/office/2006/metadata/properties" ma:root="true" ma:fieldsID="ce4c61034053e79d4d51608795efe456" ns3:_="" ns4:_="">
    <xsd:import namespace="97852e4a-c3d6-4236-b720-66b1aed79cbb"/>
    <xsd:import namespace="36c9d7e0-cf5d-4b6d-97a9-fecea97a2dc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_activity" minOccurs="0"/>
                <xsd:element ref="ns3:xSherpaClassifyTag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852e4a-c3d6-4236-b720-66b1aed79c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xSherpaClassifyTag" ma:index="21" nillable="true" ma:displayName="xSherpaClassifyTag" ma:internalName="xSherpaClassifyTag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c9d7e0-cf5d-4b6d-97a9-fecea97a2dc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97852e4a-c3d6-4236-b720-66b1aed79cbb" xsi:nil="true"/>
    <xSherpaClassifyTag xmlns="97852e4a-c3d6-4236-b720-66b1aed79cbb" xsi:nil="true"/>
  </documentManagement>
</p:properties>
</file>

<file path=customXml/itemProps1.xml><?xml version="1.0" encoding="utf-8"?>
<ds:datastoreItem xmlns:ds="http://schemas.openxmlformats.org/officeDocument/2006/customXml" ds:itemID="{CB367594-3ABE-4195-B117-AD1A527B09FB}">
  <ds:schemaRefs>
    <ds:schemaRef ds:uri="36c9d7e0-cf5d-4b6d-97a9-fecea97a2dc1"/>
    <ds:schemaRef ds:uri="97852e4a-c3d6-4236-b720-66b1aed79cb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F67CF06-2CD7-4D7F-85A6-84F8F4780F1A}">
  <ds:schemaRefs>
    <ds:schemaRef ds:uri="http://schemas.microsoft.com/office/2006/documentManagement/types"/>
    <ds:schemaRef ds:uri="http://schemas.openxmlformats.org/package/2006/metadata/core-properties"/>
    <ds:schemaRef ds:uri="36c9d7e0-cf5d-4b6d-97a9-fecea97a2dc1"/>
    <ds:schemaRef ds:uri="http://purl.org/dc/terms/"/>
    <ds:schemaRef ds:uri="http://purl.org/dc/elements/1.1/"/>
    <ds:schemaRef ds:uri="http://www.w3.org/XML/1998/namespace"/>
    <ds:schemaRef ds:uri="http://purl.org/dc/dcmitype/"/>
    <ds:schemaRef ds:uri="97852e4a-c3d6-4236-b720-66b1aed79cbb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61</TotalTime>
  <Words>2334</Words>
  <Application>Microsoft Office PowerPoint</Application>
  <PresentationFormat>Widescreen</PresentationFormat>
  <Paragraphs>412</Paragraphs>
  <Slides>8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Arial</vt:lpstr>
      <vt:lpstr>Calibri</vt:lpstr>
      <vt:lpstr>Bain Core</vt:lpstr>
      <vt:lpstr>think-cell Slide</vt:lpstr>
      <vt:lpstr>Digital Deck 4 – Social Media &amp; Influencer Marketing</vt:lpstr>
      <vt:lpstr>Own Social Media: On Instagram, Target has a healthy audience-base; scope to improve posting frequency and reach on other platforms</vt:lpstr>
      <vt:lpstr>Social media ads (FB/IG): Target significantly more active vs. competitors; scope to diversify the creatives’ style/format</vt:lpstr>
      <vt:lpstr>Social media ads (FB/IG): In the UK too, Target doing more ads vs. competition</vt:lpstr>
      <vt:lpstr>Creative quality: Good quality ads with appealing visuals &amp; clear messaging; scope to target the ads better (occasions/ customer segments), mention any offers/ discounts (1/2)</vt:lpstr>
      <vt:lpstr>Creative quality: Good quality ads with appealing visuals &amp; clear messaging; scope to target the ads better (occasions/ customer segments), mention any offers/ discounts (2/2)</vt:lpstr>
      <vt:lpstr>Influencer marketing: Target has the highest # of influencers vs. pure-play swimwear brands, however, lags slightly on ‘engagement rate’ on influencer content</vt:lpstr>
      <vt:lpstr>Scope for Target to work more with nano and micro tier influencers – these are more cost-effective and typically have a more engaged following vs. big accoun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Aphrodite – BCN PEG Digital Diagnostic</dc:title>
  <dc:creator>Dantes, Reuben</dc:creator>
  <cp:lastModifiedBy>BCN</cp:lastModifiedBy>
  <cp:revision>3</cp:revision>
  <cp:lastPrinted>2017-02-15T14:23:56Z</cp:lastPrinted>
  <dcterms:created xsi:type="dcterms:W3CDTF">2023-10-17T19:56:54Z</dcterms:created>
  <dcterms:modified xsi:type="dcterms:W3CDTF">2025-05-29T11:2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12DAC23EC22A947B921631DA9F0829E</vt:lpwstr>
  </property>
</Properties>
</file>